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5.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theme/theme6.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7.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8.xml" ContentType="application/vnd.openxmlformats-officedocument.them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heme/theme9.xml" ContentType="application/vnd.openxmlformats-officedocument.theme+xml"/>
  <Override PartName="/ppt/tags/tag362.xml" ContentType="application/vnd.openxmlformats-officedocument.presentationml.tags+xml"/>
  <Override PartName="/ppt/tags/tag363.xml" ContentType="application/vnd.openxmlformats-officedocument.presentationml.tags+xml"/>
  <Override PartName="/ppt/notesSlides/notesSlide1.xml" ContentType="application/vnd.openxmlformats-officedocument.presentationml.notesSlide+xml"/>
  <Override PartName="/ppt/tags/tag364.xml" ContentType="application/vnd.openxmlformats-officedocument.presentationml.tags+xml"/>
  <Override PartName="/ppt/notesSlides/notesSlide2.xml" ContentType="application/vnd.openxmlformats-officedocument.presentationml.notesSlide+xml"/>
  <Override PartName="/ppt/tags/tag365.xml" ContentType="application/vnd.openxmlformats-officedocument.presentationml.tags+xml"/>
  <Override PartName="/ppt/notesSlides/notesSlide3.xml" ContentType="application/vnd.openxmlformats-officedocument.presentationml.notesSl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notesSlides/notesSlide4.xml" ContentType="application/vnd.openxmlformats-officedocument.presentationml.notesSlide+xml"/>
  <Override PartName="/ppt/tags/tag370.xml" ContentType="application/vnd.openxmlformats-officedocument.presentationml.tags+xml"/>
  <Override PartName="/ppt/notesSlides/notesSlide5.xml" ContentType="application/vnd.openxmlformats-officedocument.presentationml.notesSlide+xml"/>
  <Override PartName="/ppt/tags/tag371.xml" ContentType="application/vnd.openxmlformats-officedocument.presentationml.tags+xml"/>
  <Override PartName="/ppt/notesSlides/notesSlide6.xml" ContentType="application/vnd.openxmlformats-officedocument.presentationml.notesSlide+xml"/>
  <Override PartName="/ppt/tags/tag372.xml" ContentType="application/vnd.openxmlformats-officedocument.presentationml.tags+xml"/>
  <Override PartName="/ppt/notesSlides/notesSlide7.xml" ContentType="application/vnd.openxmlformats-officedocument.presentationml.notesSlide+xml"/>
  <Override PartName="/ppt/tags/tag373.xml" ContentType="application/vnd.openxmlformats-officedocument.presentationml.tags+xml"/>
  <Override PartName="/ppt/notesSlides/notesSlide8.xml" ContentType="application/vnd.openxmlformats-officedocument.presentationml.notesSlide+xml"/>
  <Override PartName="/ppt/tags/tag374.xml" ContentType="application/vnd.openxmlformats-officedocument.presentationml.tags+xml"/>
  <Override PartName="/ppt/notesSlides/notesSlide9.xml" ContentType="application/vnd.openxmlformats-officedocument.presentationml.notesSlide+xml"/>
  <Override PartName="/ppt/tags/tag375.xml" ContentType="application/vnd.openxmlformats-officedocument.presentationml.tags+xml"/>
  <Override PartName="/ppt/notesSlides/notesSlide10.xml" ContentType="application/vnd.openxmlformats-officedocument.presentationml.notesSlide+xml"/>
  <Override PartName="/ppt/tags/tag376.xml" ContentType="application/vnd.openxmlformats-officedocument.presentationml.tags+xml"/>
  <Override PartName="/ppt/tags/tag377.xml" ContentType="application/vnd.openxmlformats-officedocument.presentationml.tags+xml"/>
  <Override PartName="/ppt/notesSlides/notesSlide11.xml" ContentType="application/vnd.openxmlformats-officedocument.presentationml.notesSlide+xml"/>
  <Override PartName="/ppt/tags/tag378.xml" ContentType="application/vnd.openxmlformats-officedocument.presentationml.tags+xml"/>
  <Override PartName="/ppt/notesSlides/notesSlide12.xml" ContentType="application/vnd.openxmlformats-officedocument.presentationml.notesSlide+xml"/>
  <Override PartName="/ppt/tags/tag379.xml" ContentType="application/vnd.openxmlformats-officedocument.presentationml.tags+xml"/>
  <Override PartName="/ppt/notesSlides/notesSlide13.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14.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8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85.xml" ContentType="application/vnd.openxmlformats-officedocument.presentationml.tags+xml"/>
  <Override PartName="/ppt/notesSlides/notesSlide21.xml" ContentType="application/vnd.openxmlformats-officedocument.presentationml.notesSlide+xml"/>
  <Override PartName="/ppt/tags/tag386.xml" ContentType="application/vnd.openxmlformats-officedocument.presentationml.tags+xml"/>
  <Override PartName="/ppt/notesSlides/notesSlide22.xml" ContentType="application/vnd.openxmlformats-officedocument.presentationml.notesSlide+xml"/>
  <Override PartName="/ppt/tags/tag387.xml" ContentType="application/vnd.openxmlformats-officedocument.presentationml.tags+xml"/>
  <Override PartName="/ppt/notesSlides/notesSlide23.xml" ContentType="application/vnd.openxmlformats-officedocument.presentationml.notesSlide+xml"/>
  <Override PartName="/ppt/tags/tag388.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8" r:id="rId5"/>
    <p:sldMasterId id="2147483839" r:id="rId6"/>
    <p:sldMasterId id="2147483957" r:id="rId7"/>
    <p:sldMasterId id="2147483985" r:id="rId8"/>
    <p:sldMasterId id="2147484085" r:id="rId9"/>
    <p:sldMasterId id="2147484178" r:id="rId10"/>
    <p:sldMasterId id="2147484268" r:id="rId11"/>
  </p:sldMasterIdLst>
  <p:notesMasterIdLst>
    <p:notesMasterId r:id="rId42"/>
  </p:notesMasterIdLst>
  <p:sldIdLst>
    <p:sldId id="2147475389" r:id="rId12"/>
    <p:sldId id="2147480699" r:id="rId13"/>
    <p:sldId id="264" r:id="rId14"/>
    <p:sldId id="2147481567" r:id="rId15"/>
    <p:sldId id="2146846568" r:id="rId16"/>
    <p:sldId id="2147480652" r:id="rId17"/>
    <p:sldId id="2147483449" r:id="rId18"/>
    <p:sldId id="269" r:id="rId19"/>
    <p:sldId id="2147475385" r:id="rId20"/>
    <p:sldId id="2147480739" r:id="rId21"/>
    <p:sldId id="2147480777" r:id="rId22"/>
    <p:sldId id="2147483613" r:id="rId23"/>
    <p:sldId id="2147483447" r:id="rId24"/>
    <p:sldId id="2147475302" r:id="rId25"/>
    <p:sldId id="2147483609" r:id="rId26"/>
    <p:sldId id="2147483612" r:id="rId27"/>
    <p:sldId id="2147483610" r:id="rId28"/>
    <p:sldId id="2147483614" r:id="rId29"/>
    <p:sldId id="2147483617" r:id="rId30"/>
    <p:sldId id="2147483619" r:id="rId31"/>
    <p:sldId id="2147483628" r:id="rId32"/>
    <p:sldId id="2147483627" r:id="rId33"/>
    <p:sldId id="2147482921" r:id="rId34"/>
    <p:sldId id="2147483620" r:id="rId35"/>
    <p:sldId id="2147483618" r:id="rId36"/>
    <p:sldId id="2147483622" r:id="rId37"/>
    <p:sldId id="2147483623" r:id="rId38"/>
    <p:sldId id="2147483624" r:id="rId39"/>
    <p:sldId id="2147483626" r:id="rId40"/>
    <p:sldId id="2147483625" r:id="rId41"/>
  </p:sldIdLst>
  <p:sldSz cx="12192000" cy="6858000"/>
  <p:notesSz cx="6858000" cy="9144000"/>
  <p:custDataLst>
    <p:tags r:id="rId43"/>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orient="horz" pos="2886" userDrawn="1">
          <p15:clr>
            <a:srgbClr val="A4A3A4"/>
          </p15:clr>
        </p15:guide>
        <p15:guide id="3" pos="6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1416"/>
    <a:srgbClr val="FFCC00"/>
    <a:srgbClr val="B2A17E"/>
    <a:srgbClr val="1D712E"/>
    <a:srgbClr val="16A846"/>
    <a:srgbClr val="E177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448439-9D91-4593-834A-D16EFB8732EE}" v="9" dt="2024-01-25T13:44:30.58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731" autoAdjust="0"/>
  </p:normalViewPr>
  <p:slideViewPr>
    <p:cSldViewPr snapToGrid="0" showGuides="1">
      <p:cViewPr varScale="1">
        <p:scale>
          <a:sx n="64" d="100"/>
          <a:sy n="64" d="100"/>
        </p:scale>
        <p:origin x="1315" y="58"/>
      </p:cViewPr>
      <p:guideLst>
        <p:guide orient="horz" pos="4224"/>
        <p:guide orient="horz" pos="2886"/>
        <p:guide pos="68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gs" Target="tags/tag1.xml"/><Relationship Id="rId48"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heme" Target="theme/theme1.xml"/><Relationship Id="rId20" Type="http://schemas.openxmlformats.org/officeDocument/2006/relationships/slide" Target="slides/slide9.xml"/><Relationship Id="rId41" Type="http://schemas.openxmlformats.org/officeDocument/2006/relationships/slide" Target="slides/slide3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1DDD8-7857-4D78-BE0A-E29B5A6BD54F}" type="datetimeFigureOut">
              <a:rPr lang="en-US" smtClean="0"/>
              <a:t>2/5/2024</a:t>
            </a:fld>
            <a:endParaRPr lang="en-US"/>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F211C0-E2BE-470F-A4CF-298949B98D43}" type="slidenum">
              <a:rPr lang="en-US" smtClean="0"/>
              <a:t>‹nr.›</a:t>
            </a:fld>
            <a:endParaRPr lang="en-US"/>
          </a:p>
        </p:txBody>
      </p:sp>
    </p:spTree>
    <p:extLst>
      <p:ext uri="{BB962C8B-B14F-4D97-AF65-F5344CB8AC3E}">
        <p14:creationId xmlns:p14="http://schemas.microsoft.com/office/powerpoint/2010/main" val="3862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a:t>Så hvad er Coop ?</a:t>
            </a:r>
          </a:p>
          <a:p>
            <a:pPr marL="171450" indent="-171450">
              <a:buFont typeface="Arial" panose="020B0604020202020204" pitchFamily="34" charset="0"/>
              <a:buChar char="•"/>
            </a:pPr>
            <a:r>
              <a:rPr lang="da-DK"/>
              <a:t>Historien om Coop starter helt tilbage i 1866, da pastor Hans Chr. Sonne og en kreds af Thisted-borgere stifter Danmarks første levedygtige brugsforening. Idéen var dengang - som den er i dag - at forbrugere, der indgår i et fællesskab, får bedre og billigere varer.</a:t>
            </a:r>
          </a:p>
          <a:p>
            <a:pPr marL="171450" indent="-171450">
              <a:buFont typeface="Arial" panose="020B0604020202020204" pitchFamily="34" charset="0"/>
              <a:buChar char="•"/>
            </a:pPr>
            <a:r>
              <a:rPr lang="da-DK"/>
              <a:t>I dag: </a:t>
            </a:r>
          </a:p>
          <a:p>
            <a:pPr marL="628650" lvl="1" indent="-171450">
              <a:buFont typeface="Arial" panose="020B0604020202020204" pitchFamily="34" charset="0"/>
              <a:buChar char="•"/>
            </a:pPr>
            <a:r>
              <a:rPr lang="da-DK"/>
              <a:t>xxx</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211C0-E2BE-470F-A4CF-298949B98D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832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2</a:t>
            </a:fld>
            <a:endParaRPr lang="da-DK">
              <a:latin typeface="COOP" panose="02010504010101010104" pitchFamily="2" charset="0"/>
            </a:endParaRPr>
          </a:p>
        </p:txBody>
      </p:sp>
    </p:spTree>
    <p:extLst>
      <p:ext uri="{BB962C8B-B14F-4D97-AF65-F5344CB8AC3E}">
        <p14:creationId xmlns:p14="http://schemas.microsoft.com/office/powerpoint/2010/main" val="2843535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r>
              <a:rPr lang="da-DK" sz="1800" b="1">
                <a:effectLst/>
                <a:latin typeface="Calibri" panose="020F0502020204030204" pitchFamily="34" charset="0"/>
                <a:ea typeface="Calibri" panose="020F0502020204030204" pitchFamily="34" charset="0"/>
                <a:cs typeface="Times New Roman" panose="02020603050405020304" pitchFamily="18" charset="0"/>
              </a:rPr>
              <a:t>Vi lancerer Danmarks stærkeste loyalitetsprogram</a:t>
            </a:r>
            <a:endParaRPr lang="da-DK"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ed at lukke ned for den del der har vist sig ikke at være en sund forretningsmodel, fokuserer vi vores kræfter omkring de digitale forretningsområder, som flest kunder gør brug af - og som samtidig kan bidrage til en profitabel vækst til vores forretning, </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investerer fortsat massivt i, via Coops app, at levere den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omni-channel</a:t>
            </a:r>
            <a:r>
              <a:rPr lang="da-DK" sz="1100">
                <a:effectLst/>
                <a:latin typeface="Calibri" panose="020F0502020204030204" pitchFamily="34" charset="0"/>
                <a:ea typeface="Calibri" panose="020F0502020204030204" pitchFamily="34" charset="0"/>
                <a:cs typeface="Times New Roman" panose="02020603050405020304" pitchFamily="18" charset="0"/>
              </a:rPr>
              <a:t> oplevelse med Coops butikker som omdrejningspunkt. Det vil være med udgangspunkt i vores butikker, at vi løbende vil opbygge vores fremtidige online dagligvareposition</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lancerer derfor et nyt loyalitetskoncept – der sikrer medlemmerne økonomiske fordele, de ikke kan få andre steder</a:t>
            </a:r>
          </a:p>
          <a:p>
            <a:pPr marL="742950" lvl="1" indent="-285750">
              <a:lnSpc>
                <a:spcPct val="107000"/>
              </a:lnSpc>
              <a:spcAft>
                <a:spcPts val="800"/>
              </a:spcAft>
              <a:buFont typeface="Calibri" panose="020F050202020403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tager det bedste fra medlem og Prime og skaber ét sammenhængende loyalitetskoncept. Fremover vil alle medlemmer få 1% bonus på en række af vores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EVM’er</a:t>
            </a:r>
            <a:r>
              <a:rPr lang="da-DK" sz="1100">
                <a:effectLst/>
                <a:latin typeface="Calibri" panose="020F0502020204030204" pitchFamily="34" charset="0"/>
                <a:ea typeface="Calibri" panose="020F0502020204030204" pitchFamily="34" charset="0"/>
                <a:cs typeface="Times New Roman" panose="02020603050405020304" pitchFamily="18" charset="0"/>
              </a:rPr>
              <a:t>, og så kan de vælge hvilke af disse, de vil have helt op til 15% bonus på hvis de bruger deres </a:t>
            </a:r>
            <a:r>
              <a:rPr lang="da-DK" sz="1100" err="1">
                <a:effectLst/>
                <a:latin typeface="Calibri" panose="020F0502020204030204" pitchFamily="34" charset="0"/>
                <a:ea typeface="Calibri" panose="020F0502020204030204" pitchFamily="34" charset="0"/>
                <a:cs typeface="Times New Roman" panose="02020603050405020304" pitchFamily="18" charset="0"/>
              </a:rPr>
              <a:t>FordelsKonto</a:t>
            </a:r>
            <a:r>
              <a:rPr lang="da-DK" sz="1100">
                <a:effectLst/>
                <a:latin typeface="Calibri" panose="020F0502020204030204" pitchFamily="34" charset="0"/>
                <a:ea typeface="Calibri" panose="020F0502020204030204" pitchFamily="34" charset="0"/>
                <a:cs typeface="Times New Roman" panose="02020603050405020304" pitchFamily="18" charset="0"/>
              </a:rPr>
              <a:t>.</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Prime overgår til </a:t>
            </a:r>
            <a:r>
              <a:rPr lang="da-DK" sz="1100" err="1">
                <a:solidFill>
                  <a:schemeClr val="tx2"/>
                </a:solidFill>
                <a:latin typeface="+mj-lt"/>
              </a:rPr>
              <a:t>Fordeskonto</a:t>
            </a:r>
            <a:r>
              <a:rPr lang="da-DK" sz="1100">
                <a:solidFill>
                  <a:schemeClr val="tx2"/>
                </a:solidFill>
                <a:latin typeface="+mj-lt"/>
              </a:rPr>
              <a:t>, og her vil der være fokus på dagligvar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for vil det ikke længere være muligt at tilvælge eksterne fordele som streaming gennem Coop</a:t>
            </a:r>
          </a:p>
          <a:p>
            <a:pPr marL="742950" marR="0" lvl="1" indent="-285750" algn="l" defTabSz="914400" rtl="0" eaLnBrk="1" fontAlgn="auto" latinLnBrk="0" hangingPunct="1">
              <a:lnSpc>
                <a:spcPct val="107000"/>
              </a:lnSpc>
              <a:spcBef>
                <a:spcPts val="0"/>
              </a:spcBef>
              <a:spcAft>
                <a:spcPts val="800"/>
              </a:spcAft>
              <a:buClrTx/>
              <a:buSzTx/>
              <a:buFont typeface="Calibri" panose="020F0502020204030204" pitchFamily="34" charset="0"/>
              <a:buChar char="-"/>
              <a:tabLst>
                <a:tab pos="1371600" algn="l"/>
              </a:tabLst>
              <a:defRPr/>
            </a:pPr>
            <a:r>
              <a:rPr lang="da-DK" sz="1100">
                <a:solidFill>
                  <a:schemeClr val="tx2"/>
                </a:solidFill>
                <a:latin typeface="+mj-lt"/>
              </a:rPr>
              <a:t>Til gengæld, kan man med </a:t>
            </a:r>
            <a:r>
              <a:rPr lang="da-DK" sz="1100" err="1">
                <a:solidFill>
                  <a:schemeClr val="tx2"/>
                </a:solidFill>
                <a:latin typeface="+mj-lt"/>
              </a:rPr>
              <a:t>FordelsKonto</a:t>
            </a:r>
            <a:r>
              <a:rPr lang="da-DK" sz="1100">
                <a:solidFill>
                  <a:schemeClr val="tx2"/>
                </a:solidFill>
                <a:latin typeface="+mj-lt"/>
              </a:rPr>
              <a:t> opnå op til 15% rabat på endnu flere varemærk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udover kommer 1%-medlemsbonussen til at kun gælde Coops egne varemærk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B8EE3-53C3-664E-83F1-F51BBA5DF6DE}"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674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5</a:t>
            </a:fld>
            <a:endParaRPr lang="da-DK">
              <a:latin typeface="COOP" panose="02010504010101010104" pitchFamily="2" charset="0"/>
            </a:endParaRPr>
          </a:p>
        </p:txBody>
      </p:sp>
    </p:spTree>
    <p:extLst>
      <p:ext uri="{BB962C8B-B14F-4D97-AF65-F5344CB8AC3E}">
        <p14:creationId xmlns:p14="http://schemas.microsoft.com/office/powerpoint/2010/main" val="1952512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6</a:t>
            </a:fld>
            <a:endParaRPr lang="da-DK">
              <a:latin typeface="COOP" panose="02010504010101010104" pitchFamily="2" charset="0"/>
            </a:endParaRPr>
          </a:p>
        </p:txBody>
      </p:sp>
    </p:spTree>
    <p:extLst>
      <p:ext uri="{BB962C8B-B14F-4D97-AF65-F5344CB8AC3E}">
        <p14:creationId xmlns:p14="http://schemas.microsoft.com/office/powerpoint/2010/main" val="1173943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7</a:t>
            </a:fld>
            <a:endParaRPr lang="da-DK">
              <a:latin typeface="COOP" panose="02010504010101010104" pitchFamily="2" charset="0"/>
            </a:endParaRPr>
          </a:p>
        </p:txBody>
      </p:sp>
    </p:spTree>
    <p:extLst>
      <p:ext uri="{BB962C8B-B14F-4D97-AF65-F5344CB8AC3E}">
        <p14:creationId xmlns:p14="http://schemas.microsoft.com/office/powerpoint/2010/main" val="1162207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457200" lvl="1" indent="0">
              <a:lnSpc>
                <a:spcPct val="107000"/>
              </a:lnSpc>
              <a:spcAft>
                <a:spcPts val="800"/>
              </a:spcAft>
              <a:buFont typeface="Arial" panose="020B0604020202020204" pitchFamily="34" charset="0"/>
              <a:buNone/>
              <a:tabLst>
                <a:tab pos="13716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Coop: </a:t>
            </a:r>
          </a:p>
          <a:p>
            <a:pPr marL="1143000" lvl="2" indent="-228600">
              <a:lnSpc>
                <a:spcPct val="107000"/>
              </a:lnSpc>
              <a:spcAft>
                <a:spcPts val="800"/>
              </a:spcAft>
              <a:buFont typeface="Calibri" panose="020F0502020204030204" pitchFamily="34" charset="0"/>
              <a:buChar char="-"/>
              <a:tabLst>
                <a:tab pos="18288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Coop vil være størst på omsætning og bedst på kundetilfredshed. Vi vil nytænke supermarkeds-formatet med alt til hverdagen til en fair pris. Dette vil ikke bare være en opgradering af vores eksisterende koncepter, det er en gennemgribende revitalisering af de røde kæder med alt lige fra brand og facadeskilte – til butiksindretning, sortiment og digitale services. </a:t>
            </a:r>
          </a:p>
          <a:p>
            <a:pPr marL="1143000" lvl="2" indent="-228600">
              <a:lnSpc>
                <a:spcPct val="107000"/>
              </a:lnSpc>
              <a:spcAft>
                <a:spcPts val="800"/>
              </a:spcAft>
              <a:buFont typeface="Calibri" panose="020F0502020204030204" pitchFamily="34" charset="0"/>
              <a:buChar char="-"/>
              <a:tabLst>
                <a:tab pos="1828800" algn="l"/>
              </a:tabLst>
            </a:pPr>
            <a:r>
              <a:rPr lang="da-DK" sz="1100" dirty="0">
                <a:effectLst/>
                <a:latin typeface="Calibri" panose="020F0502020204030204" pitchFamily="34" charset="0"/>
                <a:ea typeface="Calibri" panose="020F0502020204030204" pitchFamily="34" charset="0"/>
                <a:cs typeface="Times New Roman" panose="02020603050405020304" pitchFamily="18" charset="0"/>
              </a:rPr>
              <a:t>Derudover skal Coop være den mest bæredygtige kæde i Danmark. Vi skal være stærke på økologi og frugt &amp; grønt, sunde hverdagsmåltider, bedst på Baby &amp; Børn og de bedste egne varemærker – hvad enten det er prisstærke, ansvarlige eller </a:t>
            </a:r>
            <a:r>
              <a:rPr lang="da-DK" sz="1100" dirty="0" err="1">
                <a:effectLst/>
                <a:latin typeface="Calibri" panose="020F0502020204030204" pitchFamily="34" charset="0"/>
                <a:ea typeface="Calibri" panose="020F0502020204030204" pitchFamily="34" charset="0"/>
                <a:cs typeface="Times New Roman" panose="02020603050405020304" pitchFamily="18" charset="0"/>
              </a:rPr>
              <a:t>premium</a:t>
            </a:r>
            <a:r>
              <a:rPr lang="da-DK" sz="1100" dirty="0">
                <a:effectLst/>
                <a:latin typeface="Calibri" panose="020F0502020204030204" pitchFamily="34" charset="0"/>
                <a:ea typeface="Calibri" panose="020F0502020204030204" pitchFamily="34" charset="0"/>
                <a:cs typeface="Times New Roman" panose="02020603050405020304" pitchFamily="18" charset="0"/>
              </a:rPr>
              <a:t> varer – og alt sammen til en fair pris. Vi investerer i at skabe en ny vindende supermarkedskæde</a:t>
            </a:r>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599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Afvikling af årets største Frugt &amp; Grønt messe for alle Kvickly og SuperBrugsens Frugt &amp; Grønt ledere d. 6 september 2023 i Fredericia Messe C.</a:t>
            </a:r>
          </a:p>
          <a:p>
            <a:endParaRPr lang="da-DK" dirty="0"/>
          </a:p>
          <a:p>
            <a:r>
              <a:rPr lang="da-DK" dirty="0"/>
              <a:t>Vi havde ca. 300 ledere fra butik der deltog på dagen med det formål at løfte kvaliteten, forbedre varetilgængeligheden, samt løfte salgsavancen i vores Frugt &amp; Grønt afdelinger i butikkerne</a:t>
            </a:r>
          </a:p>
        </p:txBody>
      </p:sp>
      <p:sp>
        <p:nvSpPr>
          <p:cNvPr id="4" name="Pladsholder til slidenummer 3"/>
          <p:cNvSpPr>
            <a:spLocks noGrp="1"/>
          </p:cNvSpPr>
          <p:nvPr>
            <p:ph type="sldNum" sz="quarter" idx="5"/>
          </p:nvPr>
        </p:nvSpPr>
        <p:spPr/>
        <p:txBody>
          <a:bodyPr/>
          <a:lstStyle/>
          <a:p>
            <a:fld id="{ADF211C0-E2BE-470F-A4CF-298949B98D43}" type="slidenum">
              <a:rPr lang="en-US" smtClean="0"/>
              <a:t>20</a:t>
            </a:fld>
            <a:endParaRPr lang="en-US"/>
          </a:p>
        </p:txBody>
      </p:sp>
    </p:spTree>
    <p:extLst>
      <p:ext uri="{BB962C8B-B14F-4D97-AF65-F5344CB8AC3E}">
        <p14:creationId xmlns:p14="http://schemas.microsoft.com/office/powerpoint/2010/main" val="1563905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 har forbedret kundemødet markant</a:t>
            </a:r>
          </a:p>
          <a:p>
            <a:endParaRPr lang="da-DK" dirty="0"/>
          </a:p>
          <a:p>
            <a:r>
              <a:rPr lang="da-DK" dirty="0"/>
              <a:t>Vi har vækstet på omsætningen med 16% fra oktober 2023 – januar 2024</a:t>
            </a:r>
          </a:p>
          <a:p>
            <a:endParaRPr lang="da-DK" dirty="0"/>
          </a:p>
          <a:p>
            <a:r>
              <a:rPr lang="da-DK" dirty="0"/>
              <a:t>Vi har forbedret kvaliteten og friskheden</a:t>
            </a:r>
          </a:p>
          <a:p>
            <a:endParaRPr lang="da-DK" dirty="0"/>
          </a:p>
          <a:p>
            <a:r>
              <a:rPr lang="da-DK" dirty="0"/>
              <a:t>Vi har øget varetilgængeligheden</a:t>
            </a:r>
          </a:p>
        </p:txBody>
      </p:sp>
      <p:sp>
        <p:nvSpPr>
          <p:cNvPr id="4" name="Pladsholder til slidenummer 3"/>
          <p:cNvSpPr>
            <a:spLocks noGrp="1"/>
          </p:cNvSpPr>
          <p:nvPr>
            <p:ph type="sldNum" sz="quarter" idx="5"/>
          </p:nvPr>
        </p:nvSpPr>
        <p:spPr/>
        <p:txBody>
          <a:bodyPr/>
          <a:lstStyle/>
          <a:p>
            <a:fld id="{ADF211C0-E2BE-470F-A4CF-298949B98D43}" type="slidenum">
              <a:rPr lang="en-US" smtClean="0"/>
              <a:t>21</a:t>
            </a:fld>
            <a:endParaRPr lang="en-US"/>
          </a:p>
        </p:txBody>
      </p:sp>
    </p:spTree>
    <p:extLst>
      <p:ext uri="{BB962C8B-B14F-4D97-AF65-F5344CB8AC3E}">
        <p14:creationId xmlns:p14="http://schemas.microsoft.com/office/powerpoint/2010/main" val="19865047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2</a:t>
            </a:fld>
            <a:endParaRPr lang="en-US"/>
          </a:p>
        </p:txBody>
      </p:sp>
    </p:spTree>
    <p:extLst>
      <p:ext uri="{BB962C8B-B14F-4D97-AF65-F5344CB8AC3E}">
        <p14:creationId xmlns:p14="http://schemas.microsoft.com/office/powerpoint/2010/main" val="214218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d Discountmatch matcher Kvickly og SuperBrugsen priserne på 500 varer med normalpriserne hos følgende discountkæder: 365discount, Netto og Rema 100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indsamler priser hver uge. Hvis vi konstaterer, at normalprisen på en eller flere af de 500 varer er lavere hos 365discount, Netto eller Rema 1000, retter vi prisen i vores butikker. Prisen tilrettes senest en uge efter prissammenlignin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ilke priser sammenligner vi me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sammenligner priserne på 500 Discountmatchvarer med normalprisen på identiske eller sammenlignelige varer i 365discount, Netto og Rema 1000. Normalprisen er den pris, en vare har, når den ikke er på tilbud. Foruden tilbud matcher vi ikke priserne på begrænsede partier, spotvarer, medlemspriser, personlige priser, merkøbspriser samt priser, der ikke er landsdækken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ilke varer indgår i Discountmatch? Discountmatch omfatter et bredt udvalg af varer på tværs af hele sortimentet i SuperBrugsen og Kvickly. Varerne i Discountmatch udskiftes løbende i forbindelse med sortimentsændringer, udskiftning af leverandører og lignende. De nye varer vil blive udvalgt efter samme kriterier som de varer, der erstatt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har vi udvalgt varerne til Discountmatch?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har analyseret alle de varer, vi har på hylderne i vores butikker og set på hvilke varer vores kunder gerne vil købe til Discountmatch. Vi har blandt andet kigget på (i) hvilke varer, der købes ofte og af mange af vores kunder, (ii) hvilke varer, der er vigtige for de kunder, der fokuserer mest på pris, (iii) hvilke varer der er bredt tilgængelige i vores butikker samt (iv) hvilke varer, der også findes på hylderne hos de kæder, vi sammenligner med. Langt de fleste indkøbskurve vil indeholde en eller flere varer med Discountmat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sikrer vi, at vi sammenligner med sammenlignelige var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arerne som indgår i Discountmatch består af mærkevarer samt SuperBrugsen og Kvicklys egne varemærker (private label varer). Mærkevarerne er lette at sammenligne på tværs af kæderne, da det udelukkende er prisen, man skal forholde sig til, idet varen er identisk. Varerne under SuperBrugsen og Kvicklys egne varemærker sammenlignes med tilsvarende varer i de andre kæder og er udvalgt på baggrund af en række kriterier så som volumen, vægt, kvalitet, økologi, mm., så prisen er sammenlignelig. Hvis varen hos 365discount, Netto eller Rema 1000 i ikke har samme størrelse eller vægt som SuperBrugsen og Kvicklys egne varer, omregner vi prisen, så den passer i forhold til vores egen va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Betyder Discountmatch, at SuperBrugsen og Kvickly altid er lige så billig som de kæder, vi sammenligner os me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Nej. Discountmatch angår alene et repræsentativt udvalg af varerne i vores butikker. Vi sammenligner derfor ikke hele vores sortiment med priserne hos 365discount, Netto og Rema 100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Hvordan finder jeg Discountmatchvarerne i butikk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bestræber os på at varerne er tydeligt markeret i butikkerne, så du let kan finde dem. De varer, som indgår i Discountmatch, finder du ved at kigge efter ovenstående gule ikon:</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3</a:t>
            </a:fld>
            <a:endParaRPr lang="en-US"/>
          </a:p>
        </p:txBody>
      </p:sp>
    </p:spTree>
    <p:extLst>
      <p:ext uri="{BB962C8B-B14F-4D97-AF65-F5344CB8AC3E}">
        <p14:creationId xmlns:p14="http://schemas.microsoft.com/office/powerpoint/2010/main" val="3005562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3</a:t>
            </a:fld>
            <a:endParaRPr lang="da-DK">
              <a:latin typeface="COOP" panose="02010504010101010104" pitchFamily="2" charset="0"/>
            </a:endParaRPr>
          </a:p>
        </p:txBody>
      </p:sp>
    </p:spTree>
    <p:extLst>
      <p:ext uri="{BB962C8B-B14F-4D97-AF65-F5344CB8AC3E}">
        <p14:creationId xmlns:p14="http://schemas.microsoft.com/office/powerpoint/2010/main" val="2091956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4</a:t>
            </a:fld>
            <a:endParaRPr lang="en-US"/>
          </a:p>
        </p:txBody>
      </p:sp>
    </p:spTree>
    <p:extLst>
      <p:ext uri="{BB962C8B-B14F-4D97-AF65-F5344CB8AC3E}">
        <p14:creationId xmlns:p14="http://schemas.microsoft.com/office/powerpoint/2010/main" val="37534417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lang="da-DK" dirty="0"/>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4889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Alle butikkernes ledere i tørvarer afdelingerne i Kvickly og Superbrugsen var samlet d. 23 januar 2024 med det formål at vi i 2024 vil og skal løfte kundemødet, samt skabe en lettere hverdag for butik</a:t>
            </a:r>
          </a:p>
          <a:p>
            <a:endParaRPr lang="da-DK" dirty="0"/>
          </a:p>
          <a:p>
            <a:r>
              <a:rPr lang="da-DK" dirty="0"/>
              <a:t>Ca. 550 leder fra alle vores butikker deltog på dagen i Fredericia messe center </a:t>
            </a:r>
          </a:p>
          <a:p>
            <a:endParaRPr lang="da-DK" dirty="0"/>
          </a:p>
          <a:p>
            <a:r>
              <a:rPr lang="da-DK" dirty="0"/>
              <a:t>Tørvarer er et af butikkernes største vareområder og udgør over en 1/3 af butikkernes indtjening </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7</a:t>
            </a:fld>
            <a:endParaRPr lang="en-US"/>
          </a:p>
        </p:txBody>
      </p:sp>
    </p:spTree>
    <p:extLst>
      <p:ext uri="{BB962C8B-B14F-4D97-AF65-F5344CB8AC3E}">
        <p14:creationId xmlns:p14="http://schemas.microsoft.com/office/powerpoint/2010/main" val="28706784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Vi tester et servicekoncept med afsæt i det, som vi allerede er gode til i kæden. Formålet er at understøtte, udvikle og fastholde den høje service i butikken. Servicekonceptet hedder ”en bid bedre service, hver dag” og lægger sig direkte op af ”en bid bedre. Hver dag”, der som nævnt er vores pay </a:t>
            </a:r>
            <a:r>
              <a:rPr lang="da-DK" dirty="0" err="1"/>
              <a:t>off</a:t>
            </a:r>
            <a:r>
              <a:rPr lang="da-DK" dirty="0"/>
              <a:t>, sagt på marketing-sprog.</a:t>
            </a:r>
          </a:p>
          <a:p>
            <a:endParaRPr lang="da-DK" dirty="0"/>
          </a:p>
          <a:p>
            <a:r>
              <a:rPr lang="da-DK" dirty="0"/>
              <a:t>Servicekonceptet består af tre serviceprincipper, som er udvalgt på baggrund af kundesegmentanalyser, og hvad der er det absolut vigtigste for kunderne, når de handler – det er:</a:t>
            </a:r>
          </a:p>
          <a:p>
            <a:pPr marL="171450" indent="-171450">
              <a:buFontTx/>
              <a:buChar char="-"/>
            </a:pPr>
            <a:r>
              <a:rPr lang="da-DK" dirty="0"/>
              <a:t>At være opmærksom</a:t>
            </a:r>
          </a:p>
          <a:p>
            <a:pPr marL="171450" indent="-171450">
              <a:buFontTx/>
              <a:buChar char="-"/>
            </a:pPr>
            <a:r>
              <a:rPr lang="da-DK" dirty="0"/>
              <a:t>Gøre det nemt</a:t>
            </a:r>
          </a:p>
          <a:p>
            <a:pPr marL="171450" indent="-171450">
              <a:buFontTx/>
              <a:buChar char="-"/>
            </a:pPr>
            <a:r>
              <a:rPr lang="da-DK" dirty="0"/>
              <a:t>Tage ejerskab</a:t>
            </a:r>
          </a:p>
          <a:p>
            <a:pPr marL="0" indent="0">
              <a:buFontTx/>
              <a:buNone/>
            </a:pPr>
            <a:endParaRPr lang="da-DK" dirty="0"/>
          </a:p>
          <a:p>
            <a:pPr marL="0" indent="0">
              <a:buFontTx/>
              <a:buNone/>
            </a:pPr>
            <a:r>
              <a:rPr lang="da-DK" dirty="0"/>
              <a:t>De overordnede serviceprincipper giver os et fælles blik og sprog for at tale om service og hvordan vi er sammen med hinanden og vores kunder, for at skabe en butik, der er rar at handle ind i, og som er et fedt sted at arbejde i. </a:t>
            </a:r>
          </a:p>
          <a:p>
            <a:pPr marL="0" indent="0">
              <a:buFontTx/>
              <a:buNone/>
            </a:pPr>
            <a:endParaRPr lang="da-DK" dirty="0"/>
          </a:p>
          <a:p>
            <a:pPr marL="0" indent="0">
              <a:buFontTx/>
              <a:buNone/>
            </a:pPr>
            <a:r>
              <a:rPr lang="da-DK" dirty="0"/>
              <a:t>Vær opmærksom </a:t>
            </a:r>
          </a:p>
          <a:p>
            <a:pPr marL="0" indent="0">
              <a:buFontTx/>
              <a:buNone/>
            </a:pPr>
            <a:r>
              <a:rPr lang="da-DK" dirty="0"/>
              <a:t>Vis overskud og nærvær, når du giver personlig betjening og tag initiativ til dialog. Et ”Er du okay?” til en kollega eller et smil og et ”hej igen” til en kunde gør en forskel</a:t>
            </a:r>
          </a:p>
          <a:p>
            <a:pPr marL="0" indent="0">
              <a:buFontTx/>
              <a:buNone/>
            </a:pPr>
            <a:endParaRPr lang="da-DK" dirty="0"/>
          </a:p>
          <a:p>
            <a:pPr marL="0" indent="0">
              <a:buFontTx/>
              <a:buNone/>
            </a:pPr>
            <a:r>
              <a:rPr lang="da-DK" dirty="0"/>
              <a:t>Gør det nemt</a:t>
            </a:r>
          </a:p>
          <a:p>
            <a:pPr marL="0" indent="0">
              <a:buFontTx/>
              <a:buNone/>
            </a:pPr>
            <a:r>
              <a:rPr lang="da-DK" dirty="0"/>
              <a:t>Når kunden spørger, finder vi svaret. Du kan ikke vide alt, men du kan altid få hjælp hos dine kollegaer.</a:t>
            </a:r>
          </a:p>
          <a:p>
            <a:pPr marL="0" indent="0">
              <a:buFontTx/>
              <a:buNone/>
            </a:pPr>
            <a:endParaRPr lang="da-DK" dirty="0"/>
          </a:p>
          <a:p>
            <a:pPr marL="0" indent="0">
              <a:buFontTx/>
              <a:buNone/>
            </a:pPr>
            <a:r>
              <a:rPr lang="da-DK" dirty="0"/>
              <a:t>Tag ejerskab</a:t>
            </a:r>
          </a:p>
          <a:p>
            <a:pPr marL="0" indent="0">
              <a:buFontTx/>
              <a:buNone/>
            </a:pPr>
            <a:r>
              <a:rPr lang="da-DK" dirty="0"/>
              <a:t>Vi stoler på din evne til at træffe gode beslutninger, så vær ikke bange for at få forrest og tage ansvar. Vi har alle sammen ansvar for at gøre kunderne glade og hjælpe, hvor der er behov. </a:t>
            </a: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9</a:t>
            </a:fld>
            <a:endParaRPr lang="en-US"/>
          </a:p>
        </p:txBody>
      </p:sp>
    </p:spTree>
    <p:extLst>
      <p:ext uri="{BB962C8B-B14F-4D97-AF65-F5344CB8AC3E}">
        <p14:creationId xmlns:p14="http://schemas.microsoft.com/office/powerpoint/2010/main" val="31112328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90000"/>
              </a:lnSpc>
              <a:spcBef>
                <a:spcPts val="915"/>
              </a:spcBef>
              <a:spcAft>
                <a:spcPts val="0"/>
              </a:spcAft>
              <a:buClrTx/>
              <a:buSzTx/>
              <a:buFontTx/>
              <a:buNone/>
              <a:tabLst/>
              <a:defRPr/>
            </a:pP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er</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err="1">
                <a:ln>
                  <a:noFill/>
                </a:ln>
                <a:solidFill>
                  <a:prstClr val="black"/>
                </a:solidFill>
                <a:effectLst/>
                <a:uLnTx/>
                <a:uFillTx/>
                <a:latin typeface="COOP Light" panose="02010404010101010104" pitchFamily="2" charset="0"/>
                <a:ea typeface="+mn-ea"/>
                <a:cs typeface="+mn-cs"/>
              </a:rPr>
              <a:t>meget</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formel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udtrykke</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anerkendels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gengæld</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er</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mes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0" normalizeH="0" baseline="0" noProof="0" dirty="0" err="1">
                <a:ln>
                  <a:noFill/>
                </a:ln>
                <a:solidFill>
                  <a:prstClr val="black"/>
                </a:solidFill>
                <a:effectLst/>
                <a:uLnTx/>
                <a:uFillTx/>
                <a:latin typeface="COOP Light" panose="02010404010101010104" pitchFamily="2" charset="0"/>
                <a:ea typeface="+mn-ea"/>
                <a:cs typeface="+mn-cs"/>
              </a:rPr>
              <a:t>naturlige</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5" normalizeH="0" baseline="0" noProof="0" dirty="0" err="1">
                <a:ln>
                  <a:noFill/>
                </a:ln>
                <a:solidFill>
                  <a:prstClr val="black"/>
                </a:solidFill>
                <a:effectLst/>
                <a:uLnTx/>
                <a:uFillTx/>
                <a:latin typeface="COOP Light" panose="02010404010101010104" pitchFamily="2" charset="0"/>
                <a:ea typeface="+mn-ea"/>
                <a:cs typeface="+mn-cs"/>
              </a:rPr>
              <a:t>i</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40" normalizeH="0" baseline="0" noProof="0" dirty="0" err="1">
                <a:ln>
                  <a:noFill/>
                </a:ln>
                <a:solidFill>
                  <a:prstClr val="black"/>
                </a:solidFill>
                <a:effectLst/>
                <a:uLnTx/>
                <a:uFillTx/>
                <a:latin typeface="COOP Light" panose="02010404010101010104" pitchFamily="2" charset="0"/>
                <a:ea typeface="+mn-ea"/>
                <a:cs typeface="+mn-cs"/>
              </a:rPr>
              <a:t>verden</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gi</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likes,</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når</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man</a:t>
            </a:r>
            <a:r>
              <a:rPr kumimoji="0" lang="en-US" sz="1200" b="0" i="0" u="none" strike="noStrike" kern="1200" cap="none" spc="-114"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ser</a:t>
            </a:r>
            <a:r>
              <a:rPr kumimoji="0" lang="en-US" sz="1200" b="0" i="0" u="none" strike="noStrike" kern="1200" cap="none" spc="4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noget</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man</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kan</a:t>
            </a:r>
            <a:r>
              <a:rPr kumimoji="0" lang="en-US" sz="1200" b="0"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lide</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 </a:t>
            </a:r>
          </a:p>
          <a:p>
            <a:pPr marL="0" marR="0" lvl="0" indent="0" algn="l" defTabSz="914400" rtl="0" eaLnBrk="1" fontAlgn="auto" latinLnBrk="0" hangingPunct="1">
              <a:lnSpc>
                <a:spcPct val="90000"/>
              </a:lnSpc>
              <a:spcBef>
                <a:spcPts val="915"/>
              </a:spcBef>
              <a:spcAft>
                <a:spcPts val="0"/>
              </a:spcAft>
              <a:buClrTx/>
              <a:buSzTx/>
              <a:buFontTx/>
              <a:buNone/>
              <a:tabLst/>
              <a:defRPr/>
            </a:pPr>
            <a:r>
              <a:rPr kumimoji="0" lang="en-US" sz="1200" b="0" i="0" u="none" strike="noStrike" kern="1200" cap="none" spc="55" normalizeH="0" baseline="0" noProof="0" dirty="0" err="1">
                <a:ln>
                  <a:noFill/>
                </a:ln>
                <a:solidFill>
                  <a:prstClr val="black"/>
                </a:solidFill>
                <a:effectLst/>
                <a:uLnTx/>
                <a:uFillTx/>
                <a:latin typeface="COOP Light" panose="02010404010101010104" pitchFamily="2" charset="0"/>
                <a:ea typeface="+mn-ea"/>
                <a:cs typeface="+mn-cs"/>
              </a:rPr>
              <a:t>Derfor</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test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vi</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I </a:t>
            </a:r>
            <a:r>
              <a:rPr kumimoji="0" lang="en-US" sz="1200" b="0" i="0" u="none" strike="noStrike" kern="1200" cap="none" spc="35" normalizeH="0" baseline="0" noProof="0" dirty="0" err="1">
                <a:ln>
                  <a:noFill/>
                </a:ln>
                <a:solidFill>
                  <a:prstClr val="black"/>
                </a:solidFill>
                <a:effectLst/>
                <a:uLnTx/>
                <a:uFillTx/>
                <a:latin typeface="COOP Light" panose="02010404010101010104" pitchFamily="2" charset="0"/>
                <a:ea typeface="+mn-ea"/>
                <a:cs typeface="+mn-cs"/>
              </a:rPr>
              <a:t>testbutikkerne</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45" normalizeH="0" baseline="0" noProof="0" dirty="0">
                <a:ln>
                  <a:noFill/>
                </a:ln>
                <a:solidFill>
                  <a:prstClr val="black"/>
                </a:solidFill>
                <a:effectLst/>
                <a:uLnTx/>
                <a:uFillTx/>
                <a:latin typeface="COOP Light" panose="02010404010101010104" pitchFamily="2" charset="0"/>
                <a:ea typeface="+mn-ea"/>
                <a:cs typeface="+mn-cs"/>
              </a:rPr>
              <a:t>likes,</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som</a:t>
            </a:r>
            <a:r>
              <a:rPr kumimoji="0" lang="en-US" sz="1200" b="0"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vi</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giv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indenfo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hver</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70" normalizeH="0" baseline="0" noProof="0" dirty="0">
                <a:ln>
                  <a:noFill/>
                </a:ln>
                <a:solidFill>
                  <a:prstClr val="black"/>
                </a:solidFill>
                <a:effectLst/>
                <a:uLnTx/>
                <a:uFillTx/>
                <a:latin typeface="COOP Light" panose="02010404010101010104" pitchFamily="2" charset="0"/>
                <a:ea typeface="+mn-ea"/>
                <a:cs typeface="+mn-cs"/>
              </a:rPr>
              <a:t>af</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vores</a:t>
            </a:r>
            <a:r>
              <a:rPr kumimoji="0" lang="en-US" sz="1200" b="0" i="0" u="none" strike="noStrike" kern="1200" cap="none" spc="3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3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fokusområder</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For</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gøre</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nemt</a:t>
            </a:r>
            <a:r>
              <a:rPr kumimoji="0" lang="en-US" sz="1200" b="1"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for</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5" normalizeH="0" baseline="0" noProof="0" dirty="0" err="1">
                <a:ln>
                  <a:noFill/>
                </a:ln>
                <a:solidFill>
                  <a:prstClr val="black"/>
                </a:solidFill>
                <a:effectLst/>
                <a:uLnTx/>
                <a:uFillTx/>
                <a:latin typeface="COOP Light" panose="02010404010101010104" pitchFamily="2" charset="0"/>
                <a:ea typeface="+mn-ea"/>
                <a:cs typeface="+mn-cs"/>
              </a:rPr>
              <a:t>være</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50" normalizeH="0" baseline="0" noProof="0" dirty="0" err="1">
                <a:ln>
                  <a:noFill/>
                </a:ln>
                <a:solidFill>
                  <a:prstClr val="black"/>
                </a:solidFill>
                <a:effectLst/>
                <a:uLnTx/>
                <a:uFillTx/>
                <a:latin typeface="COOP Light" panose="02010404010101010104" pitchFamily="2" charset="0"/>
                <a:ea typeface="+mn-ea"/>
                <a:cs typeface="+mn-cs"/>
              </a:rPr>
              <a:t>opmærksom</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og</a:t>
            </a:r>
            <a:r>
              <a:rPr kumimoji="0" lang="en-US" sz="1200" b="1"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30" normalizeH="0" baseline="0" noProof="0" dirty="0">
                <a:ln>
                  <a:noFill/>
                </a:ln>
                <a:solidFill>
                  <a:prstClr val="black"/>
                </a:solidFill>
                <a:effectLst/>
                <a:uLnTx/>
                <a:uFillTx/>
                <a:latin typeface="COOP Light" panose="02010404010101010104" pitchFamily="2" charset="0"/>
                <a:ea typeface="+mn-ea"/>
                <a:cs typeface="+mn-cs"/>
              </a:rPr>
              <a:t>for </a:t>
            </a:r>
            <a:r>
              <a:rPr kumimoji="0" lang="en-US" sz="1200" b="1"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at</a:t>
            </a:r>
            <a:r>
              <a:rPr kumimoji="0" lang="en-US" sz="1200" b="1" i="0" u="none" strike="noStrike" kern="1200" cap="none" spc="-1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tage</a:t>
            </a:r>
            <a:r>
              <a:rPr kumimoji="0" lang="en-US" sz="1200" b="1" i="0" u="none" strike="noStrike" kern="1200" cap="none" spc="-10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1"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jerskab</a:t>
            </a:r>
            <a:r>
              <a:rPr kumimoji="0" lang="en-US" sz="1200" b="1"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endParaRPr kumimoji="0" lang="en-US" sz="1200" b="1"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Den,</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der</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har</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err="1">
                <a:ln>
                  <a:noFill/>
                </a:ln>
                <a:solidFill>
                  <a:prstClr val="black"/>
                </a:solidFill>
                <a:effectLst/>
                <a:uLnTx/>
                <a:uFillTx/>
                <a:latin typeface="COOP Light" panose="02010404010101010104" pitchFamily="2" charset="0"/>
                <a:ea typeface="+mn-ea"/>
                <a:cs typeface="+mn-cs"/>
              </a:rPr>
              <a:t>modtaget</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et</a:t>
            </a:r>
            <a:r>
              <a:rPr kumimoji="0" lang="en-US" sz="1200" b="0" i="0" u="none" strike="noStrike" kern="1200" cap="none" spc="-6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like,</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skal</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rPr>
              <a:t>give</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det</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50" normalizeH="0" baseline="0" noProof="0" dirty="0" err="1">
                <a:ln>
                  <a:noFill/>
                </a:ln>
                <a:solidFill>
                  <a:prstClr val="black"/>
                </a:solidFill>
                <a:effectLst/>
                <a:uLnTx/>
                <a:uFillTx/>
                <a:latin typeface="COOP Light" panose="02010404010101010104" pitchFamily="2" charset="0"/>
                <a:ea typeface="+mn-ea"/>
                <a:cs typeface="+mn-cs"/>
              </a:rPr>
              <a:t>næste</a:t>
            </a:r>
            <a:r>
              <a:rPr kumimoji="0" lang="en-US" sz="1200" b="0" i="0" u="none" strike="noStrike" kern="1200" cap="none" spc="-6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5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0" normalizeH="0" baseline="0" noProof="0" dirty="0" err="1">
                <a:ln>
                  <a:noFill/>
                </a:ln>
                <a:solidFill>
                  <a:prstClr val="black"/>
                </a:solidFill>
                <a:effectLst/>
                <a:uLnTx/>
                <a:uFillTx/>
                <a:latin typeface="COOP Light" panose="02010404010101010104" pitchFamily="2" charset="0"/>
                <a:ea typeface="+mn-ea"/>
                <a:cs typeface="+mn-cs"/>
              </a:rPr>
              <a:t>en</a:t>
            </a:r>
            <a:r>
              <a:rPr kumimoji="0" lang="en-US" sz="1200" b="0" i="0" u="none" strike="noStrike" kern="1200" cap="none" spc="-5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25" normalizeH="0" baseline="0" noProof="0" dirty="0" err="1">
                <a:ln>
                  <a:noFill/>
                </a:ln>
                <a:solidFill>
                  <a:prstClr val="black"/>
                </a:solidFill>
                <a:effectLst/>
                <a:uLnTx/>
                <a:uFillTx/>
                <a:latin typeface="COOP Light" panose="02010404010101010104" pitchFamily="2" charset="0"/>
                <a:ea typeface="+mn-ea"/>
                <a:cs typeface="+mn-cs"/>
              </a:rPr>
              <a:t>ny</a:t>
            </a:r>
            <a:r>
              <a:rPr kumimoji="0" lang="en-US" sz="1200" b="0" i="0" u="none" strike="noStrike" kern="1200" cap="none" spc="25"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kollega</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p>
          <a:p>
            <a:pPr marL="12700" marR="28956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endParaRPr>
          </a:p>
          <a:p>
            <a:pPr marL="0" marR="28956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Der 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ikk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tids</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begrænsning</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på</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 det er op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til</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n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nkelt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medarbejde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og</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hvornå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man spott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en</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r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ha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gjort</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noget</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udover</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 det </a:t>
            </a:r>
            <a:r>
              <a:rPr kumimoji="0" lang="en-US" sz="1200" b="0" i="0" u="none" strike="noStrike" kern="1200" cap="none" spc="-10" normalizeH="0" baseline="0" noProof="0" dirty="0" err="1">
                <a:ln>
                  <a:noFill/>
                </a:ln>
                <a:solidFill>
                  <a:prstClr val="black"/>
                </a:solidFill>
                <a:effectLst/>
                <a:uLnTx/>
                <a:uFillTx/>
                <a:latin typeface="COOP Light" panose="02010404010101010104" pitchFamily="2" charset="0"/>
                <a:ea typeface="+mn-ea"/>
                <a:cs typeface="+mn-cs"/>
              </a:rPr>
              <a:t>forventede</a:t>
            </a:r>
            <a:r>
              <a:rPr kumimoji="0" lang="en-US" sz="1200" b="0" i="0" u="none" strike="noStrike" kern="1200" cap="none" spc="-10" normalizeH="0" baseline="0" noProof="0" dirty="0">
                <a:ln>
                  <a:noFill/>
                </a:ln>
                <a:solidFill>
                  <a:prstClr val="black"/>
                </a:solidFill>
                <a:effectLst/>
                <a:uLnTx/>
                <a:uFillTx/>
                <a:latin typeface="COOP Light" panose="02010404010101010104" pitchFamily="2" charset="0"/>
                <a:ea typeface="+mn-ea"/>
                <a:cs typeface="+mn-cs"/>
              </a:rPr>
              <a:t>.</a:t>
            </a:r>
            <a:endParaRPr kumimoji="0" lang="en-US" sz="1200" b="0" i="0" u="none" strike="noStrike" kern="1200" cap="none" spc="0" normalizeH="0" baseline="0" noProof="0" dirty="0">
              <a:ln>
                <a:noFill/>
              </a:ln>
              <a:solidFill>
                <a:prstClr val="black"/>
              </a:solidFill>
              <a:effectLst/>
              <a:uLnTx/>
              <a:uFillTx/>
              <a:latin typeface="COOP Light" panose="02010404010101010104" pitchFamily="2" charset="0"/>
              <a:ea typeface="+mn-ea"/>
              <a:cs typeface="+mn-cs"/>
            </a:endParaRPr>
          </a:p>
          <a:p>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30</a:t>
            </a:fld>
            <a:endParaRPr lang="en-US"/>
          </a:p>
        </p:txBody>
      </p:sp>
    </p:spTree>
    <p:extLst>
      <p:ext uri="{BB962C8B-B14F-4D97-AF65-F5344CB8AC3E}">
        <p14:creationId xmlns:p14="http://schemas.microsoft.com/office/powerpoint/2010/main" val="2201253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kæmper for en bedre og mere bæredygtig hverdag for alle. Siden 1866 har vi kæmpet for bedre varer til alle danskere. Og det vil vi blive ved med </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en verden ændrer sig, markedet ændrer sig, og derfor skal vi hele tiden forny os og være relevante. Vi skal satse og investere, og vi skal ikke bare bevæge os derhen hvor markedet og kunderne bevæger sig hen, vi skal være med at drive og sætte dagsordenen for branchens fremtid</a:t>
            </a:r>
            <a:endParaRPr lang="en-US"/>
          </a:p>
        </p:txBody>
      </p:sp>
      <p:sp>
        <p:nvSpPr>
          <p:cNvPr id="4" name="Pladsholder til slidenummer 3"/>
          <p:cNvSpPr>
            <a:spLocks noGrp="1"/>
          </p:cNvSpPr>
          <p:nvPr>
            <p:ph type="sldNum" sz="quarter" idx="5"/>
          </p:nvPr>
        </p:nvSpPr>
        <p:spPr/>
        <p:txBody>
          <a:bodyPr/>
          <a:lstStyle/>
          <a:p>
            <a:fld id="{6C248F22-2999-4FE6-BB2F-C7E346B7AAD3}" type="slidenum">
              <a:rPr lang="da-DK" smtClean="0"/>
              <a:t>4</a:t>
            </a:fld>
            <a:endParaRPr lang="da-DK"/>
          </a:p>
        </p:txBody>
      </p:sp>
    </p:spTree>
    <p:extLst>
      <p:ext uri="{BB962C8B-B14F-4D97-AF65-F5344CB8AC3E}">
        <p14:creationId xmlns:p14="http://schemas.microsoft.com/office/powerpoint/2010/main" val="33513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75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da-DK" sz="1800" b="1">
                <a:effectLst/>
                <a:latin typeface="Calibri" panose="020F0502020204030204" pitchFamily="34" charset="0"/>
                <a:ea typeface="Calibri" panose="020F0502020204030204" pitchFamily="34" charset="0"/>
                <a:cs typeface="Times New Roman" panose="02020603050405020304" pitchFamily="18" charset="0"/>
              </a:rPr>
              <a:t>Med vores fremtidige 3 kæder vil vi sikre en attraktiv markedsposition i hvert af de store markedssegmenter</a:t>
            </a:r>
            <a:endParaRPr lang="da-DK" sz="1800">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lykkes med den nye Coop-kæde, Brugsen og 365discount ved at gentænke og styrke vores koncepter og position i markedet. Vores kunder møder dermed et spændende og relevant sortiment - der er til at betale, fantastiske butiksansatte – med Danmarks bedste service og et succesfuldt medlemsprogram</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Hver kæde repræsenterer kendetegn der komplementerer hinanden godt og sikrer tre attraktive markedspositioner</a:t>
            </a:r>
          </a:p>
          <a:p>
            <a:pPr marL="0" lvl="0" indent="0">
              <a:lnSpc>
                <a:spcPct val="107000"/>
              </a:lnSpc>
              <a:spcAft>
                <a:spcPts val="800"/>
              </a:spcAft>
              <a:buFont typeface="Arial" panose="020B0604020202020204" pitchFamily="34" charset="0"/>
              <a:buNone/>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Coop: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Coop vil være størst på omsætning og bedst på kundetilfredshed. Vi vil nytænke supermarkeds-formatet med alt til hverdagen til en fair pris. Dette vil ikke bare være en opgradering af vores eksisterende koncepter, det er en gennemgribende revitalisering af de røde kæder med alt lige fra brand og facadeskilte – til butiksindretning, sortiment og digitale services.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Derudover skal Coop være den mest bæredygtige kæde i Danmark. Vi skal være stærke på økologi og frugt &amp; grønt, sunde hverdagsmåltider, bedst på Baby &amp; Børn og de bedste egne varemærker – hvad enten det er prisstærke, ansvarlige eller </a:t>
            </a:r>
            <a:r>
              <a:rPr lang="da-DK" sz="1100" err="1">
                <a:effectLst/>
                <a:latin typeface="Calibri" panose="020F0502020204030204" pitchFamily="34" charset="0"/>
                <a:ea typeface="Calibri" panose="020F0502020204030204" pitchFamily="34" charset="0"/>
                <a:cs typeface="Times New Roman" panose="02020603050405020304" pitchFamily="18" charset="0"/>
              </a:rPr>
              <a:t>premium</a:t>
            </a:r>
            <a:r>
              <a:rPr lang="da-DK" sz="1100">
                <a:effectLst/>
                <a:latin typeface="Calibri" panose="020F0502020204030204" pitchFamily="34" charset="0"/>
                <a:ea typeface="Calibri" panose="020F0502020204030204" pitchFamily="34" charset="0"/>
                <a:cs typeface="Times New Roman" panose="02020603050405020304" pitchFamily="18" charset="0"/>
              </a:rPr>
              <a:t> varer – og alt sammen til en fair pris. Vi investerer i at skabe en ny vindende supermarkedskæde</a:t>
            </a:r>
          </a:p>
          <a:p>
            <a:pPr marL="0" lvl="0" indent="0">
              <a:lnSpc>
                <a:spcPct val="107000"/>
              </a:lnSpc>
              <a:spcAft>
                <a:spcPts val="800"/>
              </a:spcAft>
              <a:buFont typeface="Calibri" panose="020F0502020204030204" pitchFamily="34" charset="0"/>
              <a:buNone/>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Brugsen: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Nærbutikkerne viser allerede i dag i udfordrede tider deres værd. Vi tror rigtig meget på denne lokalt forankrede position.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Brugsen er vores stærke lokale dagligvarekæde. Allerede i dag viser Brugsen sit værd i de lokale nærmiljøer og hos kunderne, der opfatter os som troværdige, nede på jorden og pålidelige. Den position skal vi dyrke og styrke yderligere i fremtiden</a:t>
            </a:r>
          </a:p>
          <a:p>
            <a:pPr marL="0" lvl="0" indent="0">
              <a:lnSpc>
                <a:spcPct val="107000"/>
              </a:lnSpc>
              <a:spcAft>
                <a:spcPts val="800"/>
              </a:spcAft>
              <a:buFont typeface="Calibri" panose="020F0502020204030204" pitchFamily="34" charset="0"/>
              <a:buNone/>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365: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går ind i 2023 med én discountkæde – 365discount - som er Danmarks hurtigst voksende, tilstede i hele landet og netop igen i denne måned kåret som Danmarks billigste discountkæde. Kunderne har taget godt imod os, og vi øger markedsandelen i højt tempo. Det understreger at vi har ramt rigtigt med konceptet.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ålet er at 365 discount skal fordoble Coops discountomsætning mod 2030. Det skal vi netop gøre ved at differentiere 365 fra andre discountkæder på det grønne og digitale. </a:t>
            </a:r>
          </a:p>
          <a:p>
            <a:pPr marL="171450" indent="-171450">
              <a:buFont typeface="Arial" panose="020B0604020202020204" pitchFamily="34" charset="0"/>
              <a:buChar char="•"/>
            </a:pPr>
            <a:r>
              <a:rPr lang="da-DK" sz="1100">
                <a:effectLst/>
                <a:latin typeface="Calibri" panose="020F0502020204030204" pitchFamily="34" charset="0"/>
                <a:ea typeface="Calibri" panose="020F0502020204030204" pitchFamily="34" charset="0"/>
                <a:cs typeface="Times New Roman" panose="02020603050405020304" pitchFamily="18" charset="0"/>
              </a:rPr>
              <a:t>I alle 3 kæder er vi helt bevidste om, at det er alle os – Coops medarbejdere – der er nøglen til succes</a:t>
            </a:r>
            <a:endParaRPr lang="da-DK"/>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964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a-DK" sz="1200">
                <a:solidFill>
                  <a:schemeClr val="tx1"/>
                </a:solidFill>
              </a:rPr>
              <a:t>MG: ændret label til detailomsætning – bro fra 33 til 47 består af Irma 2 mia., benzin salg i både brf + Coop – engros salg til GL/FÆ/IS, udlejning og andre mindre omsætningskategorier</a:t>
            </a:r>
          </a:p>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8</a:t>
            </a:fld>
            <a:endParaRPr lang="da-DK">
              <a:latin typeface="COOP" panose="02010504010101010104" pitchFamily="2" charset="0"/>
            </a:endParaRPr>
          </a:p>
        </p:txBody>
      </p:sp>
    </p:spTree>
    <p:extLst>
      <p:ext uri="{BB962C8B-B14F-4D97-AF65-F5344CB8AC3E}">
        <p14:creationId xmlns:p14="http://schemas.microsoft.com/office/powerpoint/2010/main" val="1919676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spcAft>
                <a:spcPts val="800"/>
              </a:spcAft>
            </a:pPr>
            <a:r>
              <a:rPr lang="da-DK" sz="800">
                <a:effectLst/>
                <a:latin typeface="Calibri" panose="020F0502020204030204" pitchFamily="34" charset="0"/>
                <a:ea typeface="Calibri" panose="020F0502020204030204" pitchFamily="34" charset="0"/>
                <a:cs typeface="Times New Roman" panose="02020603050405020304" pitchFamily="18" charset="0"/>
              </a:rPr>
              <a:t> </a:t>
            </a: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668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575" y="574675"/>
            <a:ext cx="6621463" cy="3724275"/>
          </a:xfrm>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024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EFE6E-939C-42B5-AC34-3CAC9FE9127C}"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5069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1.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1.emf"/><Relationship Id="rId4" Type="http://schemas.openxmlformats.org/officeDocument/2006/relationships/oleObject" Target="../embeddings/oleObject5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1.emf"/><Relationship Id="rId4" Type="http://schemas.openxmlformats.org/officeDocument/2006/relationships/oleObject" Target="../embeddings/oleObject52.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7.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7.emf"/></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7.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59.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0.xml"/><Relationship Id="rId7" Type="http://schemas.openxmlformats.org/officeDocument/2006/relationships/image" Target="../media/image27.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2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2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2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2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07.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08.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2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2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28.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image" Target="../media/image27.jpe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4.emf"/><Relationship Id="rId5" Type="http://schemas.openxmlformats.org/officeDocument/2006/relationships/oleObject" Target="../embeddings/oleObject90.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28.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28.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2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24.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2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30.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31.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28.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33.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4.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35.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40.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2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7.jpeg"/><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1.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53.xml"/><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1.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26.bin"/></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17.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17.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62.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1.emf"/><Relationship Id="rId4" Type="http://schemas.openxmlformats.org/officeDocument/2006/relationships/oleObject" Target="../embeddings/oleObject13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1.emf"/><Relationship Id="rId4" Type="http://schemas.openxmlformats.org/officeDocument/2006/relationships/oleObject" Target="../embeddings/oleObject133.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1.emf"/><Relationship Id="rId4" Type="http://schemas.openxmlformats.org/officeDocument/2006/relationships/oleObject" Target="../embeddings/oleObject134.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1.emf"/><Relationship Id="rId4" Type="http://schemas.openxmlformats.org/officeDocument/2006/relationships/oleObject" Target="../embeddings/oleObject135.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1.emf"/><Relationship Id="rId4" Type="http://schemas.openxmlformats.org/officeDocument/2006/relationships/oleObject" Target="../embeddings/oleObject136.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74.xml"/><Relationship Id="rId4" Type="http://schemas.openxmlformats.org/officeDocument/2006/relationships/image" Target="../media/image17.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75.xml"/><Relationship Id="rId4" Type="http://schemas.openxmlformats.org/officeDocument/2006/relationships/image" Target="../media/image17.emf"/></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21.emf"/><Relationship Id="rId4" Type="http://schemas.openxmlformats.org/officeDocument/2006/relationships/oleObject" Target="../embeddings/oleObject139.bin"/></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78.xml"/><Relationship Id="rId4" Type="http://schemas.openxmlformats.org/officeDocument/2006/relationships/image" Target="../media/image21.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7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80.xml"/><Relationship Id="rId4" Type="http://schemas.openxmlformats.org/officeDocument/2006/relationships/image" Target="../media/image17.emf"/></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43.bin"/></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83.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84.xml"/><Relationship Id="rId4" Type="http://schemas.openxmlformats.org/officeDocument/2006/relationships/image" Target="../media/image17.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85.xml"/><Relationship Id="rId4" Type="http://schemas.openxmlformats.org/officeDocument/2006/relationships/image" Target="../media/image1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1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49.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89.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7.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7.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92.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93.xml"/><Relationship Id="rId6" Type="http://schemas.openxmlformats.org/officeDocument/2006/relationships/image" Target="../media/image35.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1.emf"/><Relationship Id="rId4" Type="http://schemas.openxmlformats.org/officeDocument/2006/relationships/oleObject" Target="../embeddings/oleObject158.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21.emf"/><Relationship Id="rId4" Type="http://schemas.openxmlformats.org/officeDocument/2006/relationships/oleObject" Target="../embeddings/oleObject159.bin"/></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204.xml"/><Relationship Id="rId4" Type="http://schemas.openxmlformats.org/officeDocument/2006/relationships/image" Target="../media/image17.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17.emf"/></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21.emf"/><Relationship Id="rId4" Type="http://schemas.openxmlformats.org/officeDocument/2006/relationships/oleObject" Target="../embeddings/oleObject162.bin"/></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208.xml"/><Relationship Id="rId4" Type="http://schemas.openxmlformats.org/officeDocument/2006/relationships/image" Target="../media/image21.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10.xml"/><Relationship Id="rId4" Type="http://schemas.openxmlformats.org/officeDocument/2006/relationships/image" Target="../media/image1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211.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66.bin"/></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212.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213.xml"/><Relationship Id="rId4" Type="http://schemas.openxmlformats.org/officeDocument/2006/relationships/image" Target="../media/image17.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214.xml"/><Relationship Id="rId4" Type="http://schemas.openxmlformats.org/officeDocument/2006/relationships/image" Target="../media/image17.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215.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6.svg"/><Relationship Id="rId2" Type="http://schemas.openxmlformats.org/officeDocument/2006/relationships/slideMaster" Target="../slideMasters/slideMaster5.xml"/><Relationship Id="rId1" Type="http://schemas.openxmlformats.org/officeDocument/2006/relationships/tags" Target="../tags/tag217.xml"/><Relationship Id="rId6" Type="http://schemas.openxmlformats.org/officeDocument/2006/relationships/image" Target="../media/image6.png"/><Relationship Id="rId5" Type="http://schemas.openxmlformats.org/officeDocument/2006/relationships/image" Target="../media/image21.emf"/><Relationship Id="rId4" Type="http://schemas.openxmlformats.org/officeDocument/2006/relationships/oleObject" Target="../embeddings/oleObject172.bin"/></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5.xml"/><Relationship Id="rId1" Type="http://schemas.openxmlformats.org/officeDocument/2006/relationships/tags" Target="../tags/tag218.xml"/><Relationship Id="rId5" Type="http://schemas.openxmlformats.org/officeDocument/2006/relationships/image" Target="../media/image24.jpeg"/><Relationship Id="rId4" Type="http://schemas.openxmlformats.org/officeDocument/2006/relationships/image" Target="../media/image21.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5.xml"/><Relationship Id="rId1" Type="http://schemas.openxmlformats.org/officeDocument/2006/relationships/tags" Target="../tags/tag219.xml"/><Relationship Id="rId4" Type="http://schemas.openxmlformats.org/officeDocument/2006/relationships/image" Target="../media/image21.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5.xml"/><Relationship Id="rId1" Type="http://schemas.openxmlformats.org/officeDocument/2006/relationships/tags" Target="../tags/tag220.xml"/><Relationship Id="rId4" Type="http://schemas.openxmlformats.org/officeDocument/2006/relationships/image" Target="../media/image2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5.xml"/><Relationship Id="rId1" Type="http://schemas.openxmlformats.org/officeDocument/2006/relationships/tags" Target="../tags/tag221.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2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5.xml"/><Relationship Id="rId1" Type="http://schemas.openxmlformats.org/officeDocument/2006/relationships/tags" Target="../tags/tag222.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21.emf"/></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21.emf"/><Relationship Id="rId4" Type="http://schemas.openxmlformats.org/officeDocument/2006/relationships/oleObject" Target="../embeddings/oleObject178.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1.emf"/><Relationship Id="rId4" Type="http://schemas.openxmlformats.org/officeDocument/2006/relationships/oleObject" Target="../embeddings/oleObject179.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1.emf"/><Relationship Id="rId4" Type="http://schemas.openxmlformats.org/officeDocument/2006/relationships/oleObject" Target="../embeddings/oleObject180.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image" Target="../media/image21.emf"/><Relationship Id="rId4" Type="http://schemas.openxmlformats.org/officeDocument/2006/relationships/oleObject" Target="../embeddings/oleObject18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21.emf"/><Relationship Id="rId4" Type="http://schemas.openxmlformats.org/officeDocument/2006/relationships/oleObject" Target="../embeddings/oleObject182.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21.emf"/><Relationship Id="rId4" Type="http://schemas.openxmlformats.org/officeDocument/2006/relationships/oleObject" Target="../embeddings/oleObject183.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1.emf"/><Relationship Id="rId4" Type="http://schemas.openxmlformats.org/officeDocument/2006/relationships/oleObject" Target="../embeddings/oleObject184.bin"/></Relationships>
</file>

<file path=ppt/slideLayouts/_rels/slideLayout243.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5.xml"/><Relationship Id="rId1" Type="http://schemas.openxmlformats.org/officeDocument/2006/relationships/tags" Target="../tags/tag237.xml"/><Relationship Id="rId4" Type="http://schemas.openxmlformats.org/officeDocument/2006/relationships/image" Target="../media/image21.emf"/></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5.xml"/><Relationship Id="rId1" Type="http://schemas.openxmlformats.org/officeDocument/2006/relationships/tags" Target="../tags/tag238.xml"/><Relationship Id="rId4" Type="http://schemas.openxmlformats.org/officeDocument/2006/relationships/image" Target="../media/image21.emf"/></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6.jpeg"/><Relationship Id="rId5" Type="http://schemas.openxmlformats.org/officeDocument/2006/relationships/image" Target="../media/image21.emf"/><Relationship Id="rId4" Type="http://schemas.openxmlformats.org/officeDocument/2006/relationships/oleObject" Target="../embeddings/oleObject187.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21.emf"/><Relationship Id="rId4" Type="http://schemas.openxmlformats.org/officeDocument/2006/relationships/oleObject" Target="../embeddings/oleObject188.bin"/></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image" Target="../media/image4.emf"/><Relationship Id="rId5" Type="http://schemas.openxmlformats.org/officeDocument/2006/relationships/oleObject" Target="../embeddings/oleObject190.bin"/><Relationship Id="rId4" Type="http://schemas.openxmlformats.org/officeDocument/2006/relationships/image" Target="../media/image39.jpe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6.xml"/><Relationship Id="rId1" Type="http://schemas.openxmlformats.org/officeDocument/2006/relationships/tags" Target="../tags/tag246.xml"/><Relationship Id="rId5" Type="http://schemas.openxmlformats.org/officeDocument/2006/relationships/image" Target="../media/image43.png"/><Relationship Id="rId4" Type="http://schemas.openxmlformats.org/officeDocument/2006/relationships/image" Target="../media/image11.emf"/></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6.xml"/><Relationship Id="rId1" Type="http://schemas.openxmlformats.org/officeDocument/2006/relationships/tags" Target="../tags/tag247.xml"/><Relationship Id="rId5" Type="http://schemas.openxmlformats.org/officeDocument/2006/relationships/image" Target="../media/image46.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4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93.bin"/></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39.jpeg"/><Relationship Id="rId5" Type="http://schemas.openxmlformats.org/officeDocument/2006/relationships/image" Target="../media/image4.emf"/><Relationship Id="rId4" Type="http://schemas.openxmlformats.org/officeDocument/2006/relationships/oleObject" Target="../embeddings/oleObject194.bin"/></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6.xml"/><Relationship Id="rId1" Type="http://schemas.openxmlformats.org/officeDocument/2006/relationships/tags" Target="../tags/tag251.xml"/><Relationship Id="rId5" Type="http://schemas.openxmlformats.org/officeDocument/2006/relationships/image" Target="../media/image41.png"/><Relationship Id="rId4" Type="http://schemas.openxmlformats.org/officeDocument/2006/relationships/image" Target="../media/image11.emf"/></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6.xml"/><Relationship Id="rId1" Type="http://schemas.openxmlformats.org/officeDocument/2006/relationships/tags" Target="../tags/tag252.xml"/><Relationship Id="rId5" Type="http://schemas.openxmlformats.org/officeDocument/2006/relationships/image" Target="../media/image46.png"/><Relationship Id="rId4" Type="http://schemas.openxmlformats.org/officeDocument/2006/relationships/image" Target="../media/image4.emf"/></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197.bin"/><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53.xml"/><Relationship Id="rId6" Type="http://schemas.openxmlformats.org/officeDocument/2006/relationships/image" Target="../media/image6.png"/><Relationship Id="rId5" Type="http://schemas.openxmlformats.org/officeDocument/2006/relationships/image" Target="../media/image39.jpeg"/><Relationship Id="rId4" Type="http://schemas.openxmlformats.org/officeDocument/2006/relationships/image" Target="../media/image4.emf"/></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6.xml"/><Relationship Id="rId1" Type="http://schemas.openxmlformats.org/officeDocument/2006/relationships/tags" Target="../tags/tag256.xml"/><Relationship Id="rId4" Type="http://schemas.openxmlformats.org/officeDocument/2006/relationships/image" Target="../media/image1.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6.xml"/><Relationship Id="rId1" Type="http://schemas.openxmlformats.org/officeDocument/2006/relationships/tags" Target="../tags/tag257.xml"/><Relationship Id="rId4" Type="http://schemas.openxmlformats.org/officeDocument/2006/relationships/image" Target="../media/image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6.xml"/><Relationship Id="rId1" Type="http://schemas.openxmlformats.org/officeDocument/2006/relationships/tags" Target="../tags/tag258.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6.xml"/><Relationship Id="rId1" Type="http://schemas.openxmlformats.org/officeDocument/2006/relationships/tags" Target="../tags/tag261.xml"/><Relationship Id="rId4" Type="http://schemas.openxmlformats.org/officeDocument/2006/relationships/image" Target="../media/image1.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6.xml"/><Relationship Id="rId1" Type="http://schemas.openxmlformats.org/officeDocument/2006/relationships/tags" Target="../tags/tag262.xml"/><Relationship Id="rId4" Type="http://schemas.openxmlformats.org/officeDocument/2006/relationships/image" Target="../media/image1.emf"/></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6.xml"/><Relationship Id="rId1" Type="http://schemas.openxmlformats.org/officeDocument/2006/relationships/tags" Target="../tags/tag263.xml"/><Relationship Id="rId5" Type="http://schemas.openxmlformats.org/officeDocument/2006/relationships/image" Target="../media/image40.png"/><Relationship Id="rId4" Type="http://schemas.openxmlformats.org/officeDocument/2006/relationships/image" Target="../media/image1.emf"/></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6.xml"/><Relationship Id="rId1" Type="http://schemas.openxmlformats.org/officeDocument/2006/relationships/tags" Target="../tags/tag264.xml"/><Relationship Id="rId5" Type="http://schemas.openxmlformats.org/officeDocument/2006/relationships/image" Target="../media/image41.png"/><Relationship Id="rId4" Type="http://schemas.openxmlformats.org/officeDocument/2006/relationships/image" Target="../media/image1.emf"/></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65.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207.bin"/></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6.xml"/><Relationship Id="rId1" Type="http://schemas.openxmlformats.org/officeDocument/2006/relationships/tags" Target="../tags/tag266.xml"/><Relationship Id="rId5" Type="http://schemas.openxmlformats.org/officeDocument/2006/relationships/image" Target="../media/image48.jpeg"/><Relationship Id="rId4" Type="http://schemas.openxmlformats.org/officeDocument/2006/relationships/image" Target="../media/image17.emf"/></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6.xml"/><Relationship Id="rId1" Type="http://schemas.openxmlformats.org/officeDocument/2006/relationships/tags" Target="../tags/tag267.xml"/><Relationship Id="rId4" Type="http://schemas.openxmlformats.org/officeDocument/2006/relationships/image" Target="../media/image17.emf"/></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6.xml"/><Relationship Id="rId1" Type="http://schemas.openxmlformats.org/officeDocument/2006/relationships/tags" Target="../tags/tag268.xml"/><Relationship Id="rId4" Type="http://schemas.openxmlformats.org/officeDocument/2006/relationships/image" Target="../media/image17.emf"/></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6.xml"/><Relationship Id="rId1" Type="http://schemas.openxmlformats.org/officeDocument/2006/relationships/tags" Target="../tags/tag269.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6.xml"/><Relationship Id="rId1" Type="http://schemas.openxmlformats.org/officeDocument/2006/relationships/tags" Target="../tags/tag270.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21.emf"/><Relationship Id="rId4" Type="http://schemas.openxmlformats.org/officeDocument/2006/relationships/oleObject" Target="../embeddings/oleObject21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21.emf"/><Relationship Id="rId4" Type="http://schemas.openxmlformats.org/officeDocument/2006/relationships/oleObject" Target="../embeddings/oleObject21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21.emf"/><Relationship Id="rId4" Type="http://schemas.openxmlformats.org/officeDocument/2006/relationships/oleObject" Target="../embeddings/oleObject21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 Id="rId5" Type="http://schemas.openxmlformats.org/officeDocument/2006/relationships/image" Target="../media/image21.emf"/><Relationship Id="rId4" Type="http://schemas.openxmlformats.org/officeDocument/2006/relationships/oleObject" Target="../embeddings/oleObject216.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 Id="rId5" Type="http://schemas.openxmlformats.org/officeDocument/2006/relationships/image" Target="../media/image21.emf"/><Relationship Id="rId4" Type="http://schemas.openxmlformats.org/officeDocument/2006/relationships/oleObject" Target="../embeddings/oleObject217.bin"/></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6.xml"/><Relationship Id="rId1" Type="http://schemas.openxmlformats.org/officeDocument/2006/relationships/tags" Target="../tags/tag281.xml"/><Relationship Id="rId4" Type="http://schemas.openxmlformats.org/officeDocument/2006/relationships/image" Target="../media/image17.emf"/></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6.xml"/><Relationship Id="rId1" Type="http://schemas.openxmlformats.org/officeDocument/2006/relationships/tags" Target="../tags/tag282.xml"/><Relationship Id="rId4" Type="http://schemas.openxmlformats.org/officeDocument/2006/relationships/image" Target="../media/image17.emf"/></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4.xml"/><Relationship Id="rId1" Type="http://schemas.openxmlformats.org/officeDocument/2006/relationships/tags" Target="../tags/tag283.xml"/><Relationship Id="rId5" Type="http://schemas.openxmlformats.org/officeDocument/2006/relationships/image" Target="../media/image21.emf"/><Relationship Id="rId4" Type="http://schemas.openxmlformats.org/officeDocument/2006/relationships/oleObject" Target="../embeddings/oleObject220.bin"/></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6.xml"/><Relationship Id="rId1" Type="http://schemas.openxmlformats.org/officeDocument/2006/relationships/tags" Target="../tags/tag285.xml"/><Relationship Id="rId4" Type="http://schemas.openxmlformats.org/officeDocument/2006/relationships/image" Target="../media/image2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6.xml"/><Relationship Id="rId1" Type="http://schemas.openxmlformats.org/officeDocument/2006/relationships/tags" Target="../tags/tag286.xml"/><Relationship Id="rId5" Type="http://schemas.openxmlformats.org/officeDocument/2006/relationships/image" Target="../media/image49.jpeg"/><Relationship Id="rId4" Type="http://schemas.openxmlformats.org/officeDocument/2006/relationships/image" Target="../media/image17.emf"/></Relationships>
</file>

<file path=ppt/slideLayouts/_rels/slideLayout331.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6.xml"/><Relationship Id="rId1" Type="http://schemas.openxmlformats.org/officeDocument/2006/relationships/tags" Target="../tags/tag287.xml"/><Relationship Id="rId4" Type="http://schemas.openxmlformats.org/officeDocument/2006/relationships/image" Target="../media/image17.emf"/></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36.svg"/><Relationship Id="rId2" Type="http://schemas.openxmlformats.org/officeDocument/2006/relationships/slideMaster" Target="../slideMasters/slideMaster6.xml"/><Relationship Id="rId1" Type="http://schemas.openxmlformats.org/officeDocument/2006/relationships/tags" Target="../tags/tag2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224.bin"/></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6.xml"/><Relationship Id="rId1" Type="http://schemas.openxmlformats.org/officeDocument/2006/relationships/tags" Target="../tags/tag289.xml"/><Relationship Id="rId5" Type="http://schemas.openxmlformats.org/officeDocument/2006/relationships/image" Target="../media/image48.jpeg"/><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6.xml"/><Relationship Id="rId1" Type="http://schemas.openxmlformats.org/officeDocument/2006/relationships/tags" Target="../tags/tag290.xml"/><Relationship Id="rId4" Type="http://schemas.openxmlformats.org/officeDocument/2006/relationships/image" Target="../media/image17.emf"/></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6.xml"/><Relationship Id="rId1" Type="http://schemas.openxmlformats.org/officeDocument/2006/relationships/tags" Target="../tags/tag291.xml"/><Relationship Id="rId4" Type="http://schemas.openxmlformats.org/officeDocument/2006/relationships/image" Target="../media/image17.emf"/></Relationships>
</file>

<file path=ppt/slideLayouts/_rels/slideLayout336.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6.xml"/><Relationship Id="rId1" Type="http://schemas.openxmlformats.org/officeDocument/2006/relationships/tags" Target="../tags/tag292.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png"/><Relationship Id="rId1" Type="http://schemas.openxmlformats.org/officeDocument/2006/relationships/slideMaster" Target="../slideMasters/slideMaster6.xml"/><Relationship Id="rId4" Type="http://schemas.openxmlformats.org/officeDocument/2006/relationships/image" Target="../media/image52.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6.xml"/><Relationship Id="rId7" Type="http://schemas.openxmlformats.org/officeDocument/2006/relationships/image" Target="../media/image54.jpeg"/><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4.emf"/><Relationship Id="rId5" Type="http://schemas.openxmlformats.org/officeDocument/2006/relationships/oleObject" Target="../embeddings/oleObject230.bin"/><Relationship Id="rId4" Type="http://schemas.openxmlformats.org/officeDocument/2006/relationships/slideMaster" Target="../slideMasters/slideMaster7.xml"/><Relationship Id="rId9" Type="http://schemas.openxmlformats.org/officeDocument/2006/relationships/image" Target="../media/image36.svg"/></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7.xml"/><Relationship Id="rId1" Type="http://schemas.openxmlformats.org/officeDocument/2006/relationships/tags" Target="../tags/tag29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7.xml"/><Relationship Id="rId1" Type="http://schemas.openxmlformats.org/officeDocument/2006/relationships/tags" Target="../tags/tag298.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4.emf"/><Relationship Id="rId5" Type="http://schemas.openxmlformats.org/officeDocument/2006/relationships/oleObject" Target="../embeddings/oleObject233.bin"/><Relationship Id="rId4" Type="http://schemas.openxmlformats.org/officeDocument/2006/relationships/image" Target="../media/image54.jpe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03.xml"/><Relationship Id="rId7" Type="http://schemas.openxmlformats.org/officeDocument/2006/relationships/image" Target="../media/image54.jpeg"/><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image" Target="../media/image4.emf"/><Relationship Id="rId5" Type="http://schemas.openxmlformats.org/officeDocument/2006/relationships/oleObject" Target="../embeddings/oleObject234.bin"/><Relationship Id="rId4" Type="http://schemas.openxmlformats.org/officeDocument/2006/relationships/slideMaster" Target="../slideMasters/slideMaster7.xml"/><Relationship Id="rId9" Type="http://schemas.openxmlformats.org/officeDocument/2006/relationships/image" Target="../media/image36.sv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7.xml"/><Relationship Id="rId1" Type="http://schemas.openxmlformats.org/officeDocument/2006/relationships/tags" Target="../tags/tag304.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7.xml"/><Relationship Id="rId1" Type="http://schemas.openxmlformats.org/officeDocument/2006/relationships/tags" Target="../tags/tag305.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6.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54.jpeg"/><Relationship Id="rId5" Type="http://schemas.openxmlformats.org/officeDocument/2006/relationships/image" Target="../media/image4.emf"/><Relationship Id="rId4" Type="http://schemas.openxmlformats.org/officeDocument/2006/relationships/oleObject" Target="../embeddings/oleObject237.bin"/></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image" Target="../media/image1.emf"/><Relationship Id="rId4" Type="http://schemas.openxmlformats.org/officeDocument/2006/relationships/oleObject" Target="../embeddings/oleObject238.bin"/></Relationships>
</file>

<file path=ppt/slideLayouts/_rels/slideLayout399.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7.xml"/><Relationship Id="rId1" Type="http://schemas.openxmlformats.org/officeDocument/2006/relationships/tags" Target="../tags/tag31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Master" Target="../slideMasters/slideMaster7.xml"/><Relationship Id="rId1" Type="http://schemas.openxmlformats.org/officeDocument/2006/relationships/tags" Target="../tags/tag311.xml"/><Relationship Id="rId4" Type="http://schemas.openxmlformats.org/officeDocument/2006/relationships/image" Target="../media/image1.emf"/></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241.bin"/><Relationship Id="rId2" Type="http://schemas.openxmlformats.org/officeDocument/2006/relationships/slideMaster" Target="../slideMasters/slideMaster7.xml"/><Relationship Id="rId1" Type="http://schemas.openxmlformats.org/officeDocument/2006/relationships/tags" Target="../tags/tag31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image" Target="../media/image1.emf"/><Relationship Id="rId4" Type="http://schemas.openxmlformats.org/officeDocument/2006/relationships/oleObject" Target="../embeddings/oleObject242.bin"/></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243.bin"/><Relationship Id="rId2" Type="http://schemas.openxmlformats.org/officeDocument/2006/relationships/slideMaster" Target="../slideMasters/slideMaster7.xml"/><Relationship Id="rId1" Type="http://schemas.openxmlformats.org/officeDocument/2006/relationships/tags" Target="../tags/tag315.xml"/><Relationship Id="rId4" Type="http://schemas.openxmlformats.org/officeDocument/2006/relationships/image" Target="../media/image1.emf"/></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244.bin"/><Relationship Id="rId2" Type="http://schemas.openxmlformats.org/officeDocument/2006/relationships/slideMaster" Target="../slideMasters/slideMaster7.xml"/><Relationship Id="rId1" Type="http://schemas.openxmlformats.org/officeDocument/2006/relationships/tags" Target="../tags/tag316.xml"/><Relationship Id="rId4" Type="http://schemas.openxmlformats.org/officeDocument/2006/relationships/image" Target="../media/image1.emf"/></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245.bin"/><Relationship Id="rId2" Type="http://schemas.openxmlformats.org/officeDocument/2006/relationships/slideMaster" Target="../slideMasters/slideMaster7.xml"/><Relationship Id="rId1" Type="http://schemas.openxmlformats.org/officeDocument/2006/relationships/tags" Target="../tags/tag31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06.xml.rels><?xml version="1.0" encoding="UTF-8" standalone="yes"?>
<Relationships xmlns="http://schemas.openxmlformats.org/package/2006/relationships"><Relationship Id="rId3" Type="http://schemas.openxmlformats.org/officeDocument/2006/relationships/oleObject" Target="../embeddings/oleObject246.bin"/><Relationship Id="rId2" Type="http://schemas.openxmlformats.org/officeDocument/2006/relationships/slideMaster" Target="../slideMasters/slideMaster7.xml"/><Relationship Id="rId1" Type="http://schemas.openxmlformats.org/officeDocument/2006/relationships/tags" Target="../tags/tag31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image" Target="../media/image54.jpeg"/><Relationship Id="rId5" Type="http://schemas.openxmlformats.org/officeDocument/2006/relationships/image" Target="../media/image17.emf"/><Relationship Id="rId4" Type="http://schemas.openxmlformats.org/officeDocument/2006/relationships/oleObject" Target="../embeddings/oleObject247.bin"/></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Master" Target="../slideMasters/slideMaster7.xml"/><Relationship Id="rId1" Type="http://schemas.openxmlformats.org/officeDocument/2006/relationships/tags" Target="../tags/tag321.xml"/><Relationship Id="rId5" Type="http://schemas.openxmlformats.org/officeDocument/2006/relationships/image" Target="../media/image55.jpeg"/><Relationship Id="rId4" Type="http://schemas.openxmlformats.org/officeDocument/2006/relationships/image" Target="../media/image17.emf"/></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249.bin"/><Relationship Id="rId2" Type="http://schemas.openxmlformats.org/officeDocument/2006/relationships/slideMaster" Target="../slideMasters/slideMaster7.xml"/><Relationship Id="rId1" Type="http://schemas.openxmlformats.org/officeDocument/2006/relationships/tags" Target="../tags/tag322.xml"/><Relationship Id="rId4" Type="http://schemas.openxmlformats.org/officeDocument/2006/relationships/image" Target="../media/image17.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250.bin"/><Relationship Id="rId2" Type="http://schemas.openxmlformats.org/officeDocument/2006/relationships/slideMaster" Target="../slideMasters/slideMaster7.xml"/><Relationship Id="rId1" Type="http://schemas.openxmlformats.org/officeDocument/2006/relationships/tags" Target="../tags/tag323.xml"/><Relationship Id="rId4" Type="http://schemas.openxmlformats.org/officeDocument/2006/relationships/image" Target="../media/image17.emf"/></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251.bin"/><Relationship Id="rId2" Type="http://schemas.openxmlformats.org/officeDocument/2006/relationships/slideMaster" Target="../slideMasters/slideMaster7.xml"/><Relationship Id="rId1" Type="http://schemas.openxmlformats.org/officeDocument/2006/relationships/tags" Target="../tags/tag324.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252.bin"/><Relationship Id="rId2" Type="http://schemas.openxmlformats.org/officeDocument/2006/relationships/slideMaster" Target="../slideMasters/slideMaster7.xml"/><Relationship Id="rId1" Type="http://schemas.openxmlformats.org/officeDocument/2006/relationships/tags" Target="../tags/tag325.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7.xml"/><Relationship Id="rId1" Type="http://schemas.openxmlformats.org/officeDocument/2006/relationships/tags" Target="../tags/tag326.xml"/><Relationship Id="rId5" Type="http://schemas.openxmlformats.org/officeDocument/2006/relationships/image" Target="../media/image21.emf"/><Relationship Id="rId4" Type="http://schemas.openxmlformats.org/officeDocument/2006/relationships/oleObject" Target="../embeddings/oleObject253.bin"/></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image" Target="../media/image21.emf"/><Relationship Id="rId4" Type="http://schemas.openxmlformats.org/officeDocument/2006/relationships/oleObject" Target="../embeddings/oleObject254.bin"/></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21.emf"/><Relationship Id="rId4" Type="http://schemas.openxmlformats.org/officeDocument/2006/relationships/oleObject" Target="../embeddings/oleObject255.bin"/></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21.emf"/><Relationship Id="rId4" Type="http://schemas.openxmlformats.org/officeDocument/2006/relationships/oleObject" Target="../embeddings/oleObject256.bin"/></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5.xml"/><Relationship Id="rId1" Type="http://schemas.openxmlformats.org/officeDocument/2006/relationships/tags" Target="../tags/tag334.xml"/><Relationship Id="rId5" Type="http://schemas.openxmlformats.org/officeDocument/2006/relationships/image" Target="../media/image21.emf"/><Relationship Id="rId4" Type="http://schemas.openxmlformats.org/officeDocument/2006/relationships/oleObject" Target="../embeddings/oleObject257.bin"/></Relationships>
</file>

<file path=ppt/slideLayouts/_rels/slideLayout418.xml.rels><?xml version="1.0" encoding="UTF-8" standalone="yes"?>
<Relationships xmlns="http://schemas.openxmlformats.org/package/2006/relationships"><Relationship Id="rId3" Type="http://schemas.openxmlformats.org/officeDocument/2006/relationships/oleObject" Target="../embeddings/oleObject258.bin"/><Relationship Id="rId2" Type="http://schemas.openxmlformats.org/officeDocument/2006/relationships/slideMaster" Target="../slideMasters/slideMaster7.xml"/><Relationship Id="rId1" Type="http://schemas.openxmlformats.org/officeDocument/2006/relationships/tags" Target="../tags/tag336.xml"/><Relationship Id="rId4" Type="http://schemas.openxmlformats.org/officeDocument/2006/relationships/image" Target="../media/image17.emf"/></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259.bin"/><Relationship Id="rId2" Type="http://schemas.openxmlformats.org/officeDocument/2006/relationships/slideMaster" Target="../slideMasters/slideMaster7.xml"/><Relationship Id="rId1" Type="http://schemas.openxmlformats.org/officeDocument/2006/relationships/tags" Target="../tags/tag337.xml"/><Relationship Id="rId4" Type="http://schemas.openxmlformats.org/officeDocument/2006/relationships/image" Target="../media/image1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21.emf"/><Relationship Id="rId4" Type="http://schemas.openxmlformats.org/officeDocument/2006/relationships/oleObject" Target="../embeddings/oleObject260.bin"/></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261.bin"/><Relationship Id="rId2" Type="http://schemas.openxmlformats.org/officeDocument/2006/relationships/slideMaster" Target="../slideMasters/slideMaster7.xml"/><Relationship Id="rId1" Type="http://schemas.openxmlformats.org/officeDocument/2006/relationships/tags" Target="../tags/tag340.xml"/><Relationship Id="rId4" Type="http://schemas.openxmlformats.org/officeDocument/2006/relationships/image" Target="../media/image21.emf"/></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262.bin"/><Relationship Id="rId2" Type="http://schemas.openxmlformats.org/officeDocument/2006/relationships/slideMaster" Target="../slideMasters/slideMaster7.xml"/><Relationship Id="rId1" Type="http://schemas.openxmlformats.org/officeDocument/2006/relationships/tags" Target="../tags/tag341.xml"/><Relationship Id="rId5" Type="http://schemas.openxmlformats.org/officeDocument/2006/relationships/image" Target="../media/image56.jpeg"/><Relationship Id="rId4" Type="http://schemas.openxmlformats.org/officeDocument/2006/relationships/image" Target="../media/image17.emf"/></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263.bin"/><Relationship Id="rId2" Type="http://schemas.openxmlformats.org/officeDocument/2006/relationships/slideMaster" Target="../slideMasters/slideMaster7.xml"/><Relationship Id="rId1" Type="http://schemas.openxmlformats.org/officeDocument/2006/relationships/tags" Target="../tags/tag342.xml"/><Relationship Id="rId4" Type="http://schemas.openxmlformats.org/officeDocument/2006/relationships/image" Target="../media/image17.emf"/></Relationships>
</file>

<file path=ppt/slideLayouts/_rels/slideLayout424.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slideMaster" Target="../slideMasters/slideMaster7.xml"/><Relationship Id="rId7" Type="http://schemas.openxmlformats.org/officeDocument/2006/relationships/image" Target="../media/image6.png"/><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54.jpeg"/><Relationship Id="rId5" Type="http://schemas.openxmlformats.org/officeDocument/2006/relationships/image" Target="../media/image17.emf"/><Relationship Id="rId4" Type="http://schemas.openxmlformats.org/officeDocument/2006/relationships/oleObject" Target="../embeddings/oleObject264.bin"/></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265.bin"/><Relationship Id="rId2" Type="http://schemas.openxmlformats.org/officeDocument/2006/relationships/slideMaster" Target="../slideMasters/slideMaster7.xml"/><Relationship Id="rId1" Type="http://schemas.openxmlformats.org/officeDocument/2006/relationships/tags" Target="../tags/tag345.xml"/><Relationship Id="rId5" Type="http://schemas.openxmlformats.org/officeDocument/2006/relationships/image" Target="../media/image55.jpeg"/><Relationship Id="rId4" Type="http://schemas.openxmlformats.org/officeDocument/2006/relationships/image" Target="../media/image17.emf"/></Relationships>
</file>

<file path=ppt/slideLayouts/_rels/slideLayout426.xml.rels><?xml version="1.0" encoding="UTF-8" standalone="yes"?>
<Relationships xmlns="http://schemas.openxmlformats.org/package/2006/relationships"><Relationship Id="rId3" Type="http://schemas.openxmlformats.org/officeDocument/2006/relationships/oleObject" Target="../embeddings/oleObject266.bin"/><Relationship Id="rId2" Type="http://schemas.openxmlformats.org/officeDocument/2006/relationships/slideMaster" Target="../slideMasters/slideMaster7.xml"/><Relationship Id="rId1" Type="http://schemas.openxmlformats.org/officeDocument/2006/relationships/tags" Target="../tags/tag346.xml"/><Relationship Id="rId4" Type="http://schemas.openxmlformats.org/officeDocument/2006/relationships/image" Target="../media/image17.emf"/></Relationships>
</file>

<file path=ppt/slideLayouts/_rels/slideLayout427.xml.rels><?xml version="1.0" encoding="UTF-8" standalone="yes"?>
<Relationships xmlns="http://schemas.openxmlformats.org/package/2006/relationships"><Relationship Id="rId3" Type="http://schemas.openxmlformats.org/officeDocument/2006/relationships/oleObject" Target="../embeddings/oleObject267.bin"/><Relationship Id="rId2" Type="http://schemas.openxmlformats.org/officeDocument/2006/relationships/slideMaster" Target="../slideMasters/slideMaster7.xml"/><Relationship Id="rId1" Type="http://schemas.openxmlformats.org/officeDocument/2006/relationships/tags" Target="../tags/tag347.xml"/><Relationship Id="rId4" Type="http://schemas.openxmlformats.org/officeDocument/2006/relationships/image" Target="../media/image17.emf"/></Relationships>
</file>

<file path=ppt/slideLayouts/_rels/slideLayout428.xml.rels><?xml version="1.0" encoding="UTF-8" standalone="yes"?>
<Relationships xmlns="http://schemas.openxmlformats.org/package/2006/relationships"><Relationship Id="rId3" Type="http://schemas.openxmlformats.org/officeDocument/2006/relationships/oleObject" Target="../embeddings/oleObject268.bin"/><Relationship Id="rId2" Type="http://schemas.openxmlformats.org/officeDocument/2006/relationships/slideMaster" Target="../slideMasters/slideMaster7.xml"/><Relationship Id="rId1" Type="http://schemas.openxmlformats.org/officeDocument/2006/relationships/tags" Target="../tags/tag348.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1.png"/><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3.png"/><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6.png"/><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Master" Target="../slideMasters/slideMaster8.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emf"/><Relationship Id="rId4" Type="http://schemas.openxmlformats.org/officeDocument/2006/relationships/oleObject" Target="../embeddings/oleObject2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1.emf"/><Relationship Id="rId4" Type="http://schemas.openxmlformats.org/officeDocument/2006/relationships/oleObject" Target="../embeddings/oleObject2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1.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1.emf"/><Relationship Id="rId4" Type="http://schemas.openxmlformats.org/officeDocument/2006/relationships/oleObject" Target="../embeddings/oleObject2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1.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1.emf"/><Relationship Id="rId4" Type="http://schemas.openxmlformats.org/officeDocument/2006/relationships/oleObject" Target="../embeddings/oleObject3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22.jpeg"/><Relationship Id="rId4" Type="http://schemas.openxmlformats.org/officeDocument/2006/relationships/image" Target="../media/image1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7.emf"/></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24.jpeg"/><Relationship Id="rId4" Type="http://schemas.openxmlformats.org/officeDocument/2006/relationships/image" Target="../media/image17.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6.bin"/><Relationship Id="rId7" Type="http://schemas.openxmlformats.org/officeDocument/2006/relationships/image" Target="../media/image25.png"/><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1.emf"/><Relationship Id="rId4" Type="http://schemas.openxmlformats.org/officeDocument/2006/relationships/oleObject" Target="../embeddings/oleObject48.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1.emf"/><Relationship Id="rId4" Type="http://schemas.openxmlformats.org/officeDocument/2006/relationships/oleObject" Target="../embeddings/oleObject4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23721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468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5832366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1385189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7174358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792928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9426891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17367041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625100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02547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744687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93577479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09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4098657277"/>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5089457"/>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968073854"/>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57526744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5750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3740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70174F-847B-4376-9318-CBB77493DC36}"/>
              </a:ext>
            </a:extLst>
          </p:cNvPr>
          <p:cNvGraphicFramePr>
            <a:graphicFrameLocks noChangeAspect="1"/>
          </p:cNvGraphicFramePr>
          <p:nvPr userDrawn="1">
            <p:custDataLst>
              <p:tags r:id="rId1"/>
            </p:custDataLst>
            <p:extLst>
              <p:ext uri="{D42A27DB-BD31-4B8C-83A1-F6EECF244321}">
                <p14:modId xmlns:p14="http://schemas.microsoft.com/office/powerpoint/2010/main" val="413479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C70174F-847B-4376-9318-CBB77493D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da-DK"/>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61008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5AA298-7080-43EA-9D43-2674C826FF5E}"/>
              </a:ext>
            </a:extLst>
          </p:cNvPr>
          <p:cNvGraphicFramePr>
            <a:graphicFrameLocks noChangeAspect="1"/>
          </p:cNvGraphicFramePr>
          <p:nvPr userDrawn="1">
            <p:custDataLst>
              <p:tags r:id="rId1"/>
            </p:custDataLst>
            <p:extLst>
              <p:ext uri="{D42A27DB-BD31-4B8C-83A1-F6EECF244321}">
                <p14:modId xmlns:p14="http://schemas.microsoft.com/office/powerpoint/2010/main" val="126496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95AA298-7080-43EA-9D43-2674C826F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vert="horz"/>
          <a:lstStyle>
            <a:lvl1pPr rtl="0">
              <a:defRPr sz="3400"/>
            </a:lvl1pPr>
          </a:lstStyle>
          <a:p>
            <a:r>
              <a:rPr lang="da-DK" err="1"/>
              <a:t>Click</a:t>
            </a:r>
            <a:r>
              <a:rPr lang="da-DK"/>
              <a:t> to </a:t>
            </a:r>
            <a:r>
              <a:rPr lang="da-DK" err="1"/>
              <a:t>add</a:t>
            </a:r>
            <a:r>
              <a:rPr lang="da-DK"/>
              <a:t> </a:t>
            </a:r>
            <a:r>
              <a:rPr lang="da-DK" err="1"/>
              <a:t>title</a:t>
            </a:r>
            <a:endParaRPr lang="da-DK"/>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3037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9FDF69-EDEF-4B1E-BEB1-0C9F4D1614B0}"/>
              </a:ext>
            </a:extLst>
          </p:cNvPr>
          <p:cNvGraphicFramePr>
            <a:graphicFrameLocks noChangeAspect="1"/>
          </p:cNvGraphicFramePr>
          <p:nvPr userDrawn="1">
            <p:custDataLst>
              <p:tags r:id="rId1"/>
            </p:custDataLst>
            <p:extLst>
              <p:ext uri="{D42A27DB-BD31-4B8C-83A1-F6EECF244321}">
                <p14:modId xmlns:p14="http://schemas.microsoft.com/office/powerpoint/2010/main" val="11016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019FDF69-EDEF-4B1E-BEB1-0C9F4D161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vert="horz" wrap="square" lIns="0" tIns="0" rIns="320040" bIns="0" anchor="b">
            <a:noAutofit/>
          </a:bodyPr>
          <a:lstStyle>
            <a:lvl1pPr rtl="0">
              <a:defRPr sz="3200">
                <a:solidFill>
                  <a:schemeClr val="tx2"/>
                </a:solidFill>
                <a:latin typeface="+mj-lt"/>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413684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E01B69-E8A2-4247-910A-2DA1341D82C5}"/>
              </a:ext>
            </a:extLst>
          </p:cNvPr>
          <p:cNvGraphicFramePr>
            <a:graphicFrameLocks noChangeAspect="1"/>
          </p:cNvGraphicFramePr>
          <p:nvPr userDrawn="1">
            <p:custDataLst>
              <p:tags r:id="rId1"/>
            </p:custDataLst>
            <p:extLst>
              <p:ext uri="{D42A27DB-BD31-4B8C-83A1-F6EECF244321}">
                <p14:modId xmlns:p14="http://schemas.microsoft.com/office/powerpoint/2010/main" val="173469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8E01B69-E8A2-4247-910A-2DA1341D8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158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3A881C-B778-44B2-99EB-2541741ADF69}"/>
              </a:ext>
            </a:extLst>
          </p:cNvPr>
          <p:cNvGraphicFramePr>
            <a:graphicFrameLocks noChangeAspect="1"/>
          </p:cNvGraphicFramePr>
          <p:nvPr userDrawn="1">
            <p:custDataLst>
              <p:tags r:id="rId1"/>
            </p:custDataLst>
            <p:extLst>
              <p:ext uri="{D42A27DB-BD31-4B8C-83A1-F6EECF244321}">
                <p14:modId xmlns:p14="http://schemas.microsoft.com/office/powerpoint/2010/main" val="175900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B3A881C-B778-44B2-99EB-2541741AD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00564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2460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3C88BA-584F-48A4-97F1-D9380C1902FB}"/>
              </a:ext>
            </a:extLst>
          </p:cNvPr>
          <p:cNvGraphicFramePr>
            <a:graphicFrameLocks noChangeAspect="1"/>
          </p:cNvGraphicFramePr>
          <p:nvPr userDrawn="1">
            <p:custDataLst>
              <p:tags r:id="rId1"/>
            </p:custDataLst>
            <p:extLst>
              <p:ext uri="{D42A27DB-BD31-4B8C-83A1-F6EECF244321}">
                <p14:modId xmlns:p14="http://schemas.microsoft.com/office/powerpoint/2010/main" val="285186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C3C88BA-584F-48A4-97F1-D9380C190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00581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56E01-EC57-41FE-A89C-7CC32C0E4C86}"/>
              </a:ext>
            </a:extLst>
          </p:cNvPr>
          <p:cNvGraphicFramePr>
            <a:graphicFrameLocks noChangeAspect="1"/>
          </p:cNvGraphicFramePr>
          <p:nvPr userDrawn="1">
            <p:custDataLst>
              <p:tags r:id="rId1"/>
            </p:custDataLst>
            <p:extLst>
              <p:ext uri="{D42A27DB-BD31-4B8C-83A1-F6EECF244321}">
                <p14:modId xmlns:p14="http://schemas.microsoft.com/office/powerpoint/2010/main" val="18175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3D56E01-EC57-41FE-A89C-7CC32C0E4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1823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E9377C-C23C-43FB-87C9-34921148E20A}"/>
              </a:ext>
            </a:extLst>
          </p:cNvPr>
          <p:cNvGraphicFramePr>
            <a:graphicFrameLocks noChangeAspect="1"/>
          </p:cNvGraphicFramePr>
          <p:nvPr userDrawn="1">
            <p:custDataLst>
              <p:tags r:id="rId1"/>
            </p:custDataLst>
            <p:extLst>
              <p:ext uri="{D42A27DB-BD31-4B8C-83A1-F6EECF244321}">
                <p14:modId xmlns:p14="http://schemas.microsoft.com/office/powerpoint/2010/main" val="330121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DE9377C-C23C-43FB-87C9-34921148E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3871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7821C2-904D-4924-883F-C2664A9E9046}"/>
              </a:ext>
            </a:extLst>
          </p:cNvPr>
          <p:cNvGraphicFramePr>
            <a:graphicFrameLocks noChangeAspect="1"/>
          </p:cNvGraphicFramePr>
          <p:nvPr userDrawn="1">
            <p:custDataLst>
              <p:tags r:id="rId1"/>
            </p:custDataLst>
            <p:extLst>
              <p:ext uri="{D42A27DB-BD31-4B8C-83A1-F6EECF244321}">
                <p14:modId xmlns:p14="http://schemas.microsoft.com/office/powerpoint/2010/main" val="39767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C7821C2-904D-4924-883F-C2664A9E90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6693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BEA789-CC2E-43DC-84DC-8C4038361351}"/>
              </a:ext>
            </a:extLst>
          </p:cNvPr>
          <p:cNvGraphicFramePr>
            <a:graphicFrameLocks noChangeAspect="1"/>
          </p:cNvGraphicFramePr>
          <p:nvPr userDrawn="1">
            <p:custDataLst>
              <p:tags r:id="rId1"/>
            </p:custDataLst>
            <p:extLst>
              <p:ext uri="{D42A27DB-BD31-4B8C-83A1-F6EECF244321}">
                <p14:modId xmlns:p14="http://schemas.microsoft.com/office/powerpoint/2010/main" val="190982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EBEA789-CC2E-43DC-84DC-8C4038361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White">
          <a:xfrm>
            <a:off x="469900" y="1804650"/>
            <a:ext cx="64076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edit</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371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DC491-7E9C-4DFF-972B-C8A21533B626}"/>
              </a:ext>
            </a:extLst>
          </p:cNvPr>
          <p:cNvGraphicFramePr>
            <a:graphicFrameLocks noChangeAspect="1"/>
          </p:cNvGraphicFramePr>
          <p:nvPr userDrawn="1">
            <p:custDataLst>
              <p:tags r:id="rId1"/>
            </p:custDataLst>
            <p:extLst>
              <p:ext uri="{D42A27DB-BD31-4B8C-83A1-F6EECF244321}">
                <p14:modId xmlns:p14="http://schemas.microsoft.com/office/powerpoint/2010/main" val="19330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AEDC491-7E9C-4DFF-972B-C8A21533B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88655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2ECB7-1275-4E4A-965E-4E248A467ED8}"/>
              </a:ext>
            </a:extLst>
          </p:cNvPr>
          <p:cNvGraphicFramePr>
            <a:graphicFrameLocks noChangeAspect="1"/>
          </p:cNvGraphicFramePr>
          <p:nvPr userDrawn="1">
            <p:custDataLst>
              <p:tags r:id="rId1"/>
            </p:custDataLst>
            <p:extLst>
              <p:ext uri="{D42A27DB-BD31-4B8C-83A1-F6EECF244321}">
                <p14:modId xmlns:p14="http://schemas.microsoft.com/office/powerpoint/2010/main" val="304986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BD2ECB7-1275-4E4A-965E-4E248A467E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vert="horz" anchor="ctr" anchorCtr="0">
            <a:noAutofit/>
          </a:bodyPr>
          <a:lstStyle>
            <a:lvl1pPr rtl="0">
              <a:defRPr sz="3200" baseline="0">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505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9598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4007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076E76-6598-46D3-B3C9-CDA53E3595D8}"/>
              </a:ext>
            </a:extLst>
          </p:cNvPr>
          <p:cNvGraphicFramePr>
            <a:graphicFrameLocks noChangeAspect="1"/>
          </p:cNvGraphicFramePr>
          <p:nvPr userDrawn="1">
            <p:custDataLst>
              <p:tags r:id="rId1"/>
            </p:custDataLst>
            <p:extLst>
              <p:ext uri="{D42A27DB-BD31-4B8C-83A1-F6EECF244321}">
                <p14:modId xmlns:p14="http://schemas.microsoft.com/office/powerpoint/2010/main" val="202559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C076E76-6598-46D3-B3C9-CDA53E3595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70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78AAE1-9D49-4926-BB4F-DD49FDCC15D7}"/>
              </a:ext>
            </a:extLst>
          </p:cNvPr>
          <p:cNvGraphicFramePr>
            <a:graphicFrameLocks noChangeAspect="1"/>
          </p:cNvGraphicFramePr>
          <p:nvPr userDrawn="1">
            <p:custDataLst>
              <p:tags r:id="rId1"/>
            </p:custDataLst>
            <p:extLst>
              <p:ext uri="{D42A27DB-BD31-4B8C-83A1-F6EECF244321}">
                <p14:modId xmlns:p14="http://schemas.microsoft.com/office/powerpoint/2010/main" val="376859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78AAE1-9D49-4926-BB4F-DD49FDCC1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3596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58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6FC2F1-05F3-4A05-A813-8DF89FFC2C5F}"/>
              </a:ext>
            </a:extLst>
          </p:cNvPr>
          <p:cNvGraphicFramePr>
            <a:graphicFrameLocks noChangeAspect="1"/>
          </p:cNvGraphicFramePr>
          <p:nvPr userDrawn="1">
            <p:custDataLst>
              <p:tags r:id="rId1"/>
            </p:custDataLst>
            <p:extLst>
              <p:ext uri="{D42A27DB-BD31-4B8C-83A1-F6EECF244321}">
                <p14:modId xmlns:p14="http://schemas.microsoft.com/office/powerpoint/2010/main" val="280519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106FC2F1-05F3-4A05-A813-8DF89FFC2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577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83719B-55FA-4C99-BEA1-63054567C5EA}"/>
              </a:ext>
            </a:extLst>
          </p:cNvPr>
          <p:cNvGraphicFramePr>
            <a:graphicFrameLocks noChangeAspect="1"/>
          </p:cNvGraphicFramePr>
          <p:nvPr userDrawn="1">
            <p:custDataLst>
              <p:tags r:id="rId1"/>
            </p:custDataLst>
            <p:extLst>
              <p:ext uri="{D42A27DB-BD31-4B8C-83A1-F6EECF244321}">
                <p14:modId xmlns:p14="http://schemas.microsoft.com/office/powerpoint/2010/main" val="121778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D83719B-55FA-4C99-BEA1-63054567C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93549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D842F0-84B2-46A1-AA13-EB625CA9F3CB}"/>
              </a:ext>
            </a:extLst>
          </p:cNvPr>
          <p:cNvGraphicFramePr>
            <a:graphicFrameLocks noChangeAspect="1"/>
          </p:cNvGraphicFramePr>
          <p:nvPr userDrawn="1">
            <p:custDataLst>
              <p:tags r:id="rId1"/>
            </p:custDataLst>
            <p:extLst>
              <p:ext uri="{D42A27DB-BD31-4B8C-83A1-F6EECF244321}">
                <p14:modId xmlns:p14="http://schemas.microsoft.com/office/powerpoint/2010/main" val="17945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1D842F0-84B2-46A1-AA13-EB625CA9F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176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1C9346-4201-4BA6-8A74-8830359E0BE8}"/>
              </a:ext>
            </a:extLst>
          </p:cNvPr>
          <p:cNvGraphicFramePr>
            <a:graphicFrameLocks noChangeAspect="1"/>
          </p:cNvGraphicFramePr>
          <p:nvPr userDrawn="1">
            <p:custDataLst>
              <p:tags r:id="rId1"/>
            </p:custDataLst>
            <p:extLst>
              <p:ext uri="{D42A27DB-BD31-4B8C-83A1-F6EECF244321}">
                <p14:modId xmlns:p14="http://schemas.microsoft.com/office/powerpoint/2010/main" val="253444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DB1C9346-4201-4BA6-8A74-8830359E0B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39393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14ACF3-66F9-48EA-AE75-51AEACA8D079}"/>
              </a:ext>
            </a:extLst>
          </p:cNvPr>
          <p:cNvGraphicFramePr>
            <a:graphicFrameLocks noChangeAspect="1"/>
          </p:cNvGraphicFramePr>
          <p:nvPr userDrawn="1">
            <p:custDataLst>
              <p:tags r:id="rId1"/>
            </p:custDataLst>
            <p:extLst>
              <p:ext uri="{D42A27DB-BD31-4B8C-83A1-F6EECF244321}">
                <p14:modId xmlns:p14="http://schemas.microsoft.com/office/powerpoint/2010/main" val="169092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214ACF3-66F9-48EA-AE75-51AEACA8D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471958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3205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34303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398CC3-7EBC-4365-9777-FA861C6C1B9A}"/>
              </a:ext>
            </a:extLst>
          </p:cNvPr>
          <p:cNvGraphicFramePr>
            <a:graphicFrameLocks noChangeAspect="1"/>
          </p:cNvGraphicFramePr>
          <p:nvPr userDrawn="1">
            <p:custDataLst>
              <p:tags r:id="rId1"/>
            </p:custDataLst>
            <p:extLst>
              <p:ext uri="{D42A27DB-BD31-4B8C-83A1-F6EECF244321}">
                <p14:modId xmlns:p14="http://schemas.microsoft.com/office/powerpoint/2010/main" val="115440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8398CC3-7EBC-4365-9777-FA861C6C1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469900" y="402586"/>
            <a:ext cx="11312797" cy="853141"/>
          </a:xfrm>
        </p:spPr>
        <p:txBody>
          <a:bodyPr vert="horz"/>
          <a:lstStyle>
            <a:lvl1pPr rtl="0">
              <a:defRPr sz="3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2041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9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1F034-087A-4F9E-9387-14B044475E0C}"/>
              </a:ext>
            </a:extLst>
          </p:cNvPr>
          <p:cNvGraphicFramePr>
            <a:graphicFrameLocks noChangeAspect="1"/>
          </p:cNvGraphicFramePr>
          <p:nvPr userDrawn="1">
            <p:custDataLst>
              <p:tags r:id="rId1"/>
            </p:custDataLst>
            <p:extLst>
              <p:ext uri="{D42A27DB-BD31-4B8C-83A1-F6EECF244321}">
                <p14:modId xmlns:p14="http://schemas.microsoft.com/office/powerpoint/2010/main" val="118006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B71F034-087A-4F9E-9387-14B044475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4705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9570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612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752237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228014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254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624764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9083A3-403F-4F49-8659-DF507B1C88CE}"/>
              </a:ext>
            </a:extLst>
          </p:cNvPr>
          <p:cNvGraphicFramePr>
            <a:graphicFrameLocks noChangeAspect="1"/>
          </p:cNvGraphicFramePr>
          <p:nvPr userDrawn="1">
            <p:custDataLst>
              <p:tags r:id="rId1"/>
            </p:custDataLst>
            <p:extLst>
              <p:ext uri="{D42A27DB-BD31-4B8C-83A1-F6EECF244321}">
                <p14:modId xmlns:p14="http://schemas.microsoft.com/office/powerpoint/2010/main" val="168124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49083A3-403F-4F49-8659-DF507B1C8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69900" y="402586"/>
            <a:ext cx="11312797" cy="853141"/>
          </a:xfr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354025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2BD19-4939-473B-AF93-72D3C882BAAA}"/>
              </a:ext>
            </a:extLst>
          </p:cNvPr>
          <p:cNvGraphicFramePr>
            <a:graphicFrameLocks noChangeAspect="1"/>
          </p:cNvGraphicFramePr>
          <p:nvPr userDrawn="1">
            <p:custDataLst>
              <p:tags r:id="rId1"/>
            </p:custDataLst>
            <p:extLst>
              <p:ext uri="{D42A27DB-BD31-4B8C-83A1-F6EECF244321}">
                <p14:modId xmlns:p14="http://schemas.microsoft.com/office/powerpoint/2010/main" val="150525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CF2BD19-4939-473B-AF93-72D3C882BA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da-DK" err="1"/>
              <a:t>Click</a:t>
            </a:r>
            <a:r>
              <a:rPr lang="da-DK"/>
              <a:t> to </a:t>
            </a:r>
            <a:r>
              <a:rPr lang="da-DK" err="1"/>
              <a:t>add</a:t>
            </a:r>
            <a:r>
              <a:rPr lang="da-DK"/>
              <a:t> </a:t>
            </a:r>
            <a:r>
              <a:rPr lang="da-DK" err="1"/>
              <a:t>title</a:t>
            </a:r>
            <a:endParaRPr lang="da-DK"/>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69900" y="2085628"/>
            <a:ext cx="11312797"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83759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EC8B19-F53B-4BFD-A2AB-60052A0E7EB4}"/>
              </a:ext>
            </a:extLst>
          </p:cNvPr>
          <p:cNvGraphicFramePr>
            <a:graphicFrameLocks noChangeAspect="1"/>
          </p:cNvGraphicFramePr>
          <p:nvPr userDrawn="1">
            <p:custDataLst>
              <p:tags r:id="rId1"/>
            </p:custDataLst>
            <p:extLst>
              <p:ext uri="{D42A27DB-BD31-4B8C-83A1-F6EECF244321}">
                <p14:modId xmlns:p14="http://schemas.microsoft.com/office/powerpoint/2010/main" val="412468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4EC8B19-F53B-4BFD-A2AB-60052A0E7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add</a:t>
            </a:r>
            <a:r>
              <a:rPr lang="da-DK"/>
              <a:t> </a:t>
            </a:r>
            <a:r>
              <a:rPr lang="da-DK" err="1"/>
              <a:t>subtitle</a:t>
            </a:r>
            <a:endParaRPr lang="da-DK"/>
          </a:p>
        </p:txBody>
      </p:sp>
      <p:sp>
        <p:nvSpPr>
          <p:cNvPr id="9" name="Title 4"/>
          <p:cNvSpPr>
            <a:spLocks noGrp="1"/>
          </p:cNvSpPr>
          <p:nvPr>
            <p:ph type="title" hasCustomPrompt="1"/>
          </p:nvPr>
        </p:nvSpPr>
        <p:spPr>
          <a:xfrm>
            <a:off x="469900" y="1227048"/>
            <a:ext cx="39041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108583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151FA-6E40-4D64-B617-864A8DB28688}"/>
              </a:ext>
            </a:extLst>
          </p:cNvPr>
          <p:cNvGraphicFramePr>
            <a:graphicFrameLocks noChangeAspect="1"/>
          </p:cNvGraphicFramePr>
          <p:nvPr userDrawn="1">
            <p:custDataLst>
              <p:tags r:id="rId1"/>
            </p:custDataLst>
            <p:extLst>
              <p:ext uri="{D42A27DB-BD31-4B8C-83A1-F6EECF244321}">
                <p14:modId xmlns:p14="http://schemas.microsoft.com/office/powerpoint/2010/main" val="53394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AC151FA-6E40-4D64-B617-864A8DB28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4653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F6243F-B1AE-4E0B-86E2-79C8C85C4B3A}"/>
              </a:ext>
            </a:extLst>
          </p:cNvPr>
          <p:cNvGraphicFramePr>
            <a:graphicFrameLocks noChangeAspect="1"/>
          </p:cNvGraphicFramePr>
          <p:nvPr userDrawn="1">
            <p:custDataLst>
              <p:tags r:id="rId1"/>
            </p:custDataLst>
            <p:extLst>
              <p:ext uri="{D42A27DB-BD31-4B8C-83A1-F6EECF244321}">
                <p14:modId xmlns:p14="http://schemas.microsoft.com/office/powerpoint/2010/main" val="200011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DF6243F-B1AE-4E0B-86E2-79C8C85C4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09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3C2FFA-DAB5-4BBC-B713-B9CA4A2849F6}"/>
              </a:ext>
            </a:extLst>
          </p:cNvPr>
          <p:cNvGraphicFramePr>
            <a:graphicFrameLocks noChangeAspect="1"/>
          </p:cNvGraphicFramePr>
          <p:nvPr userDrawn="1">
            <p:custDataLst>
              <p:tags r:id="rId1"/>
            </p:custDataLst>
            <p:extLst>
              <p:ext uri="{D42A27DB-BD31-4B8C-83A1-F6EECF244321}">
                <p14:modId xmlns:p14="http://schemas.microsoft.com/office/powerpoint/2010/main" val="9616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E3C2FFA-DAB5-4BBC-B713-B9CA4A284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6238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AFA349-1275-40DF-95FE-37D81E5AECBF}"/>
              </a:ext>
            </a:extLst>
          </p:cNvPr>
          <p:cNvGraphicFramePr>
            <a:graphicFrameLocks noChangeAspect="1"/>
          </p:cNvGraphicFramePr>
          <p:nvPr userDrawn="1">
            <p:custDataLst>
              <p:tags r:id="rId1"/>
            </p:custDataLst>
            <p:extLst>
              <p:ext uri="{D42A27DB-BD31-4B8C-83A1-F6EECF244321}">
                <p14:modId xmlns:p14="http://schemas.microsoft.com/office/powerpoint/2010/main" val="237961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9AFA349-1275-40DF-95FE-37D81E5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2664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128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97FB31-EBEB-456A-B9B4-89972A95456A}"/>
              </a:ext>
            </a:extLst>
          </p:cNvPr>
          <p:cNvGraphicFramePr>
            <a:graphicFrameLocks noChangeAspect="1"/>
          </p:cNvGraphicFramePr>
          <p:nvPr userDrawn="1">
            <p:custDataLst>
              <p:tags r:id="rId1"/>
            </p:custDataLst>
            <p:extLst>
              <p:ext uri="{D42A27DB-BD31-4B8C-83A1-F6EECF244321}">
                <p14:modId xmlns:p14="http://schemas.microsoft.com/office/powerpoint/2010/main" val="55584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497FB31-EBEB-456A-B9B4-89972A954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9752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34433B-7E41-4A4B-9CB9-D3F1E5745558}"/>
              </a:ext>
            </a:extLst>
          </p:cNvPr>
          <p:cNvGraphicFramePr>
            <a:graphicFrameLocks noChangeAspect="1"/>
          </p:cNvGraphicFramePr>
          <p:nvPr userDrawn="1">
            <p:custDataLst>
              <p:tags r:id="rId1"/>
            </p:custDataLst>
            <p:extLst>
              <p:ext uri="{D42A27DB-BD31-4B8C-83A1-F6EECF244321}">
                <p14:modId xmlns:p14="http://schemas.microsoft.com/office/powerpoint/2010/main" val="35032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634433B-7E41-4A4B-9CB9-D3F1E5745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285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04803E-9C27-4D46-B5C1-68962B815FD2}"/>
              </a:ext>
            </a:extLst>
          </p:cNvPr>
          <p:cNvGraphicFramePr>
            <a:graphicFrameLocks noChangeAspect="1"/>
          </p:cNvGraphicFramePr>
          <p:nvPr userDrawn="1">
            <p:custDataLst>
              <p:tags r:id="rId1"/>
            </p:custDataLst>
            <p:extLst>
              <p:ext uri="{D42A27DB-BD31-4B8C-83A1-F6EECF244321}">
                <p14:modId xmlns:p14="http://schemas.microsoft.com/office/powerpoint/2010/main" val="176891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B04803E-9C27-4D46-B5C1-68962B815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224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2A288F-5AFF-4072-AD38-B33C9A2AC6E9}"/>
              </a:ext>
            </a:extLst>
          </p:cNvPr>
          <p:cNvGraphicFramePr>
            <a:graphicFrameLocks noChangeAspect="1"/>
          </p:cNvGraphicFramePr>
          <p:nvPr userDrawn="1">
            <p:custDataLst>
              <p:tags r:id="rId1"/>
            </p:custDataLst>
            <p:extLst>
              <p:ext uri="{D42A27DB-BD31-4B8C-83A1-F6EECF244321}">
                <p14:modId xmlns:p14="http://schemas.microsoft.com/office/powerpoint/2010/main" val="146111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EB2A288F-5AFF-4072-AD38-B33C9A2AC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5" name="Title 1"/>
          <p:cNvSpPr>
            <a:spLocks noGrp="1"/>
          </p:cNvSpPr>
          <p:nvPr>
            <p:ph type="title" hasCustomPrompt="1"/>
          </p:nvPr>
        </p:nvSpPr>
        <p:spPr bwMode="black">
          <a:xfrm>
            <a:off x="469900" y="1785600"/>
            <a:ext cx="6408588"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800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0818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0124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C6256E-B0E2-4E1B-8D1D-9A8B7DFBCEB5}"/>
              </a:ext>
            </a:extLst>
          </p:cNvPr>
          <p:cNvGraphicFramePr>
            <a:graphicFrameLocks noChangeAspect="1"/>
          </p:cNvGraphicFramePr>
          <p:nvPr userDrawn="1">
            <p:custDataLst>
              <p:tags r:id="rId1"/>
            </p:custDataLst>
            <p:extLst>
              <p:ext uri="{D42A27DB-BD31-4B8C-83A1-F6EECF244321}">
                <p14:modId xmlns:p14="http://schemas.microsoft.com/office/powerpoint/2010/main" val="238965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29C6256E-B0E2-4E1B-8D1D-9A8B7DFBCE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vert="horz" anchor="ctr" anchorCtr="0">
            <a:noAutofit/>
          </a:bodyPr>
          <a:lstStyle>
            <a:lvl1pPr rtl="0">
              <a:defRPr>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150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AE0D70-98E9-4B38-901A-C531CED1627A}"/>
              </a:ext>
            </a:extLst>
          </p:cNvPr>
          <p:cNvGraphicFramePr>
            <a:graphicFrameLocks noChangeAspect="1"/>
          </p:cNvGraphicFramePr>
          <p:nvPr userDrawn="1">
            <p:custDataLst>
              <p:tags r:id="rId1"/>
            </p:custDataLst>
            <p:extLst>
              <p:ext uri="{D42A27DB-BD31-4B8C-83A1-F6EECF244321}">
                <p14:modId xmlns:p14="http://schemas.microsoft.com/office/powerpoint/2010/main" val="97242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8AE0D70-98E9-4B38-901A-C531CED16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8804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FEDE2-32AA-432C-81EC-16C9319D2E6E}"/>
              </a:ext>
            </a:extLst>
          </p:cNvPr>
          <p:cNvGraphicFramePr>
            <a:graphicFrameLocks noChangeAspect="1"/>
          </p:cNvGraphicFramePr>
          <p:nvPr userDrawn="1">
            <p:custDataLst>
              <p:tags r:id="rId1"/>
            </p:custDataLst>
            <p:extLst>
              <p:ext uri="{D42A27DB-BD31-4B8C-83A1-F6EECF244321}">
                <p14:modId xmlns:p14="http://schemas.microsoft.com/office/powerpoint/2010/main" val="18471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7CFEDE2-32AA-432C-81EC-16C9319D2E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4210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32BE7-D3C4-441C-A247-B22F8E6D3477}"/>
              </a:ext>
            </a:extLst>
          </p:cNvPr>
          <p:cNvGraphicFramePr>
            <a:graphicFrameLocks noChangeAspect="1"/>
          </p:cNvGraphicFramePr>
          <p:nvPr userDrawn="1">
            <p:custDataLst>
              <p:tags r:id="rId1"/>
            </p:custDataLst>
            <p:extLst>
              <p:ext uri="{D42A27DB-BD31-4B8C-83A1-F6EECF244321}">
                <p14:modId xmlns:p14="http://schemas.microsoft.com/office/powerpoint/2010/main" val="204754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54D32BE7-D3C4-441C-A247-B22F8E6D3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9176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9E818-8C04-4F04-A88D-EDEA19FE37C8}"/>
              </a:ext>
            </a:extLst>
          </p:cNvPr>
          <p:cNvGraphicFramePr>
            <a:graphicFrameLocks noChangeAspect="1"/>
          </p:cNvGraphicFramePr>
          <p:nvPr userDrawn="1">
            <p:custDataLst>
              <p:tags r:id="rId1"/>
            </p:custDataLst>
            <p:extLst>
              <p:ext uri="{D42A27DB-BD31-4B8C-83A1-F6EECF244321}">
                <p14:modId xmlns:p14="http://schemas.microsoft.com/office/powerpoint/2010/main" val="162999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4A99E818-8C04-4F04-A88D-EDEA19FE3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952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7129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813800-26B3-4F65-A99D-457333A5FD93}"/>
              </a:ext>
            </a:extLst>
          </p:cNvPr>
          <p:cNvGraphicFramePr>
            <a:graphicFrameLocks noChangeAspect="1"/>
          </p:cNvGraphicFramePr>
          <p:nvPr userDrawn="1">
            <p:custDataLst>
              <p:tags r:id="rId1"/>
            </p:custDataLst>
            <p:extLst>
              <p:ext uri="{D42A27DB-BD31-4B8C-83A1-F6EECF244321}">
                <p14:modId xmlns:p14="http://schemas.microsoft.com/office/powerpoint/2010/main" val="372446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61813800-26B3-4F65-A99D-457333A5F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938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EF0A73-0195-484A-8A69-281F03F4E4E5}"/>
              </a:ext>
            </a:extLst>
          </p:cNvPr>
          <p:cNvGraphicFramePr>
            <a:graphicFrameLocks noChangeAspect="1"/>
          </p:cNvGraphicFramePr>
          <p:nvPr userDrawn="1">
            <p:custDataLst>
              <p:tags r:id="rId1"/>
            </p:custDataLst>
            <p:extLst>
              <p:ext uri="{D42A27DB-BD31-4B8C-83A1-F6EECF244321}">
                <p14:modId xmlns:p14="http://schemas.microsoft.com/office/powerpoint/2010/main" val="290292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DEF0A73-0195-484A-8A69-281F03F4E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0976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09C861-9208-4A53-9D92-B39D866A7CA2}"/>
              </a:ext>
            </a:extLst>
          </p:cNvPr>
          <p:cNvGraphicFramePr>
            <a:graphicFrameLocks noChangeAspect="1"/>
          </p:cNvGraphicFramePr>
          <p:nvPr userDrawn="1">
            <p:custDataLst>
              <p:tags r:id="rId1"/>
            </p:custDataLst>
            <p:extLst>
              <p:ext uri="{D42A27DB-BD31-4B8C-83A1-F6EECF244321}">
                <p14:modId xmlns:p14="http://schemas.microsoft.com/office/powerpoint/2010/main" val="11133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509C861-9208-4A53-9D92-B39D866A7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38957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561A51-D063-4167-B719-869DC5B35059}"/>
              </a:ext>
            </a:extLst>
          </p:cNvPr>
          <p:cNvGraphicFramePr>
            <a:graphicFrameLocks noChangeAspect="1"/>
          </p:cNvGraphicFramePr>
          <p:nvPr userDrawn="1">
            <p:custDataLst>
              <p:tags r:id="rId1"/>
            </p:custDataLst>
            <p:extLst>
              <p:ext uri="{D42A27DB-BD31-4B8C-83A1-F6EECF244321}">
                <p14:modId xmlns:p14="http://schemas.microsoft.com/office/powerpoint/2010/main" val="177759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F561A51-D063-4167-B719-869DC5B350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256512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53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34824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5D61FE-3367-4EC7-A8B2-6A0C98732AB6}"/>
              </a:ext>
            </a:extLst>
          </p:cNvPr>
          <p:cNvGraphicFramePr>
            <a:graphicFrameLocks noChangeAspect="1"/>
          </p:cNvGraphicFramePr>
          <p:nvPr userDrawn="1">
            <p:custDataLst>
              <p:tags r:id="rId1"/>
            </p:custDataLst>
            <p:extLst>
              <p:ext uri="{D42A27DB-BD31-4B8C-83A1-F6EECF244321}">
                <p14:modId xmlns:p14="http://schemas.microsoft.com/office/powerpoint/2010/main" val="14649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95D61FE-3367-4EC7-A8B2-6A0C98732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69900" y="402586"/>
            <a:ext cx="11312797" cy="853141"/>
          </a:xfrm>
        </p:spPr>
        <p:txBody>
          <a:bodyPr vert="horz"/>
          <a:lstStyle>
            <a:lvl1pPr rtl="0">
              <a:defRPr>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5557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DAE5E0-A259-4137-B6CA-BBFFD908FF4F}"/>
              </a:ext>
            </a:extLst>
          </p:cNvPr>
          <p:cNvGraphicFramePr>
            <a:graphicFrameLocks noChangeAspect="1"/>
          </p:cNvGraphicFramePr>
          <p:nvPr userDrawn="1">
            <p:custDataLst>
              <p:tags r:id="rId1"/>
            </p:custDataLst>
            <p:extLst>
              <p:ext uri="{D42A27DB-BD31-4B8C-83A1-F6EECF244321}">
                <p14:modId xmlns:p14="http://schemas.microsoft.com/office/powerpoint/2010/main" val="85129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CDAE5E0-A259-4137-B6CA-BBFFD908FF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da-DK" sz="4800" b="1" err="1">
                <a:solidFill>
                  <a:schemeClr val="tx2"/>
                </a:solidFill>
                <a:latin typeface="+mn-lt"/>
                <a:sym typeface="Trebuchet MS" panose="020B0603020202020204" pitchFamily="34" charset="0"/>
              </a:rPr>
              <a:t>Table</a:t>
            </a:r>
            <a:r>
              <a:rPr lang="da-DK" sz="4800" b="1">
                <a:solidFill>
                  <a:schemeClr val="tx2"/>
                </a:solidFill>
                <a:latin typeface="+mn-lt"/>
                <a:sym typeface="Trebuchet MS" panose="020B0603020202020204" pitchFamily="34" charset="0"/>
              </a:rPr>
              <a:t>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9786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BC91A6-305A-452B-888C-2797D58D5B00}"/>
              </a:ext>
            </a:extLst>
          </p:cNvPr>
          <p:cNvGraphicFramePr>
            <a:graphicFrameLocks noChangeAspect="1"/>
          </p:cNvGraphicFramePr>
          <p:nvPr userDrawn="1">
            <p:custDataLst>
              <p:tags r:id="rId1"/>
            </p:custDataLst>
            <p:extLst>
              <p:ext uri="{D42A27DB-BD31-4B8C-83A1-F6EECF244321}">
                <p14:modId xmlns:p14="http://schemas.microsoft.com/office/powerpoint/2010/main" val="28608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0BC91A6-305A-452B-888C-2797D58D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88860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4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3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643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2806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56906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191042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30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da-DK"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rtl="0" fontAlgn="auto">
              <a:lnSpc>
                <a:spcPct val="95000"/>
              </a:lnSpc>
              <a:spcBef>
                <a:spcPts val="0"/>
              </a:spcBef>
              <a:spcAft>
                <a:spcPts val="0"/>
              </a:spcAft>
            </a:pPr>
            <a:r>
              <a:rPr lang="da-DK"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9367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8091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4641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386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7372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6287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rtl="0">
              <a:lnSpc>
                <a:spcPct val="90000"/>
              </a:lnSpc>
              <a:spcAft>
                <a:spcPts val="600"/>
              </a:spcAft>
            </a:pPr>
            <a:r>
              <a:rPr lang="da-DK"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175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46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da-DK"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a-DK" b="1"/>
              <a:t>Agenda</a:t>
            </a:r>
          </a:p>
        </p:txBody>
      </p:sp>
    </p:spTree>
    <p:extLst>
      <p:ext uri="{BB962C8B-B14F-4D97-AF65-F5344CB8AC3E}">
        <p14:creationId xmlns:p14="http://schemas.microsoft.com/office/powerpoint/2010/main" val="54099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9992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Tree>
    <p:extLst>
      <p:ext uri="{BB962C8B-B14F-4D97-AF65-F5344CB8AC3E}">
        <p14:creationId xmlns:p14="http://schemas.microsoft.com/office/powerpoint/2010/main" val="383030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1515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4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576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rtl="0">
              <a:lnSpc>
                <a:spcPct val="90000"/>
              </a:lnSpc>
              <a:spcAft>
                <a:spcPts val="600"/>
              </a:spcAft>
            </a:pPr>
            <a:r>
              <a:rPr lang="da-DK"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88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194133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4929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da-DK" sz="4800" b="1" kern="1200" err="1">
                <a:solidFill>
                  <a:schemeClr val="tx2"/>
                </a:solidFill>
                <a:latin typeface="+mn-lt"/>
                <a:ea typeface="+mn-ea"/>
                <a:cs typeface="+mn-cs"/>
                <a:sym typeface="Trebuchet MS" panose="020B0603020202020204" pitchFamily="34" charset="0"/>
              </a:rPr>
              <a:t>Table</a:t>
            </a:r>
            <a:r>
              <a:rPr lang="da-DK" sz="4800" b="1" kern="1200">
                <a:solidFill>
                  <a:schemeClr val="tx2"/>
                </a:solidFill>
                <a:latin typeface="+mn-lt"/>
                <a:ea typeface="+mn-ea"/>
                <a:cs typeface="+mn-cs"/>
                <a:sym typeface="Trebuchet MS" panose="020B0603020202020204" pitchFamily="34" charset="0"/>
              </a:rPr>
              <a:t>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92061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304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3494419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269309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44570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343696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29538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1155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67188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312549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1484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320082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75905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65245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31812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35741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hasCustomPrompt="1"/>
          </p:nvPr>
        </p:nvSpPr>
        <p:spPr>
          <a:xfrm>
            <a:off x="6240462" y="2087320"/>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hasCustomPrompt="1"/>
          </p:nvPr>
        </p:nvSpPr>
        <p:spPr>
          <a:xfrm>
            <a:off x="6240462" y="3173659"/>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hasCustomPrompt="1"/>
          </p:nvPr>
        </p:nvSpPr>
        <p:spPr>
          <a:xfrm>
            <a:off x="6240462" y="4259998"/>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3386760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89071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69103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06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302140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204185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6227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189861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3222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rtl="0">
              <a:defRPr>
                <a:solidFill>
                  <a:schemeClr val="tx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15603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07931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rtl="0">
              <a:defRPr>
                <a:solidFill>
                  <a:schemeClr val="bg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rtl="0">
              <a:defRPr>
                <a:solidFill>
                  <a:schemeClr val="bg1"/>
                </a:solidFill>
                <a:latin typeface="+mn-lt"/>
                <a:ea typeface="+mn-ea"/>
                <a:cs typeface="+mn-cs"/>
              </a:defRPr>
            </a:lvl1pPr>
            <a:lvl2pPr rtl="0">
              <a:defRPr>
                <a:solidFill>
                  <a:schemeClr val="bg1"/>
                </a:solidFill>
                <a:latin typeface="+mn-lt"/>
                <a:ea typeface="+mn-ea"/>
                <a:cs typeface="+mn-cs"/>
              </a:defRPr>
            </a:lvl2pPr>
            <a:lvl3pPr rtl="0">
              <a:defRPr>
                <a:solidFill>
                  <a:schemeClr val="bg1"/>
                </a:solidFill>
                <a:latin typeface="+mn-lt"/>
                <a:ea typeface="+mn-ea"/>
                <a:cs typeface="+mn-cs"/>
              </a:defRPr>
            </a:lvl3pPr>
            <a:lvl4pPr rtl="0">
              <a:defRPr>
                <a:solidFill>
                  <a:schemeClr val="bg1"/>
                </a:solidFill>
                <a:latin typeface="+mn-lt"/>
                <a:ea typeface="+mn-ea"/>
                <a:cs typeface="+mn-cs"/>
              </a:defRPr>
            </a:lvl4pPr>
            <a:lvl5pPr rtl="0">
              <a:defRPr>
                <a:solidFill>
                  <a:schemeClr val="bg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7510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31395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396083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21989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rtl="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da-DK" err="1"/>
              <a:t>Click</a:t>
            </a:r>
            <a:r>
              <a:rPr lang="da-DK"/>
              <a:t> to </a:t>
            </a:r>
            <a:r>
              <a:rPr lang="da-DK" err="1"/>
              <a:t>edit</a:t>
            </a:r>
            <a:r>
              <a:rPr lang="da-DK"/>
              <a:t> Master </a:t>
            </a:r>
            <a:r>
              <a:rPr lang="da-DK" err="1"/>
              <a:t>text</a:t>
            </a:r>
            <a:r>
              <a:rPr lang="da-DK"/>
              <a: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14225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428867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rtl="0"/>
            <a:r>
              <a:rPr lang="da-DK" sz="1000" b="1">
                <a:latin typeface="+mn-lt"/>
                <a:ea typeface="+mn-ea"/>
                <a:cs typeface="+mn-cs"/>
              </a:rPr>
              <a:t>Skift billede:</a:t>
            </a:r>
          </a:p>
          <a:p>
            <a:pPr algn="l" rtl="0"/>
            <a:r>
              <a:rPr lang="da-DK" sz="1000">
                <a:latin typeface="+mn-lt"/>
                <a:ea typeface="+mn-ea"/>
                <a:cs typeface="+mn-cs"/>
              </a:rPr>
              <a:t>Klik uden for format</a:t>
            </a:r>
          </a:p>
          <a:p>
            <a:pPr algn="l" rtl="0"/>
            <a:r>
              <a:rPr lang="da-DK" sz="1000">
                <a:latin typeface="+mn-lt"/>
                <a:ea typeface="+mn-ea"/>
                <a:cs typeface="+mn-cs"/>
              </a:rPr>
              <a:t>Højre klik for at formatere baggrunden</a:t>
            </a:r>
          </a:p>
          <a:p>
            <a:pPr algn="l" rtl="0"/>
            <a:r>
              <a:rPr lang="da-DK" sz="1000">
                <a:latin typeface="+mn-lt"/>
                <a:ea typeface="+mn-ea"/>
                <a:cs typeface="+mn-cs"/>
              </a:rPr>
              <a:t>Klik på fil og indsæt dit billede </a:t>
            </a:r>
          </a:p>
          <a:p>
            <a:pPr algn="l" rtl="0"/>
            <a:endParaRPr lang="da-DK" sz="1000">
              <a:latin typeface="+mn-lt"/>
              <a:ea typeface="+mn-ea"/>
              <a:cs typeface="+mn-cs"/>
            </a:endParaRPr>
          </a:p>
          <a:p>
            <a:pPr algn="l" rtl="0"/>
            <a:endParaRPr lang="da-DK" sz="1000">
              <a:latin typeface="+mn-lt"/>
              <a:ea typeface="+mn-ea"/>
              <a:cs typeface="+mn-cs"/>
            </a:endParaRPr>
          </a:p>
          <a:p>
            <a:pPr algn="l" rtl="0"/>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8362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78402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08438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47773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206950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295112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42531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48309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8676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259685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115537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364264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38004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22800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78561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01231388"/>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37529576"/>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116680524"/>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451689677"/>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695733079"/>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4086970325"/>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9073492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89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48845372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79890043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4261409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4303631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8104304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294939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4948287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32187774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85700586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3369793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270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69373306"/>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38501964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157388151"/>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41476227"/>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485456422"/>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99765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583D80-3A4D-4332-A02B-AA628B92DBF4}"/>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8188C02-7AF8-42DE-88E9-4259AD85F72D}"/>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slidenummer 3">
            <a:extLst>
              <a:ext uri="{FF2B5EF4-FFF2-40B4-BE49-F238E27FC236}">
                <a16:creationId xmlns:a16="http://schemas.microsoft.com/office/drawing/2014/main" id="{E8025C6F-36B7-469E-AABB-673B82EE46CD}"/>
              </a:ext>
            </a:extLst>
          </p:cNvPr>
          <p:cNvSpPr>
            <a:spLocks noGrp="1"/>
          </p:cNvSpPr>
          <p:nvPr>
            <p:ph type="sldNum" sz="quarter" idx="10"/>
          </p:nvPr>
        </p:nvSpPr>
        <p:spPr/>
        <p:txBody>
          <a:bodyPr/>
          <a:lstStyle/>
          <a:p>
            <a:fld id="{FF9BE60C-6529-421B-A845-DD15027EA2C7}" type="slidenum">
              <a:rPr lang="da-DK" smtClean="0"/>
              <a:pPr/>
              <a:t>‹nr.›</a:t>
            </a:fld>
            <a:endParaRPr lang="da-DK"/>
          </a:p>
        </p:txBody>
      </p:sp>
      <p:sp>
        <p:nvSpPr>
          <p:cNvPr id="5" name="Pladsholder til sidefod 4">
            <a:extLst>
              <a:ext uri="{FF2B5EF4-FFF2-40B4-BE49-F238E27FC236}">
                <a16:creationId xmlns:a16="http://schemas.microsoft.com/office/drawing/2014/main" id="{3F869692-1D52-4BAF-A790-BF15D91EBDDA}"/>
              </a:ext>
            </a:extLst>
          </p:cNvPr>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121852788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93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67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6578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0289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D727-0FF2-41F3-8471-CBEE38509628}"/>
              </a:ext>
            </a:extLst>
          </p:cNvPr>
          <p:cNvGraphicFramePr>
            <a:graphicFrameLocks noChangeAspect="1"/>
          </p:cNvGraphicFramePr>
          <p:nvPr userDrawn="1">
            <p:custDataLst>
              <p:tags r:id="rId1"/>
            </p:custDataLst>
            <p:extLst>
              <p:ext uri="{D42A27DB-BD31-4B8C-83A1-F6EECF244321}">
                <p14:modId xmlns:p14="http://schemas.microsoft.com/office/powerpoint/2010/main" val="10536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F347D727-0FF2-41F3-8471-CBEE385096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092083622"/>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CED8-2246-4ABA-9381-8E78341D9C29}"/>
              </a:ext>
            </a:extLst>
          </p:cNvPr>
          <p:cNvGraphicFramePr>
            <a:graphicFrameLocks noChangeAspect="1"/>
          </p:cNvGraphicFramePr>
          <p:nvPr userDrawn="1">
            <p:custDataLst>
              <p:tags r:id="rId1"/>
            </p:custDataLst>
            <p:extLst>
              <p:ext uri="{D42A27DB-BD31-4B8C-83A1-F6EECF244321}">
                <p14:modId xmlns:p14="http://schemas.microsoft.com/office/powerpoint/2010/main" val="306148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87FCCED8-2246-4ABA-9381-8E78341D9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47735442"/>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D1AD4D-855B-4784-AE5C-B8887A3F21F0}"/>
              </a:ext>
            </a:extLst>
          </p:cNvPr>
          <p:cNvGraphicFramePr>
            <a:graphicFrameLocks noChangeAspect="1"/>
          </p:cNvGraphicFramePr>
          <p:nvPr userDrawn="1">
            <p:custDataLst>
              <p:tags r:id="rId1"/>
            </p:custDataLst>
            <p:extLst>
              <p:ext uri="{D42A27DB-BD31-4B8C-83A1-F6EECF244321}">
                <p14:modId xmlns:p14="http://schemas.microsoft.com/office/powerpoint/2010/main" val="20129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0D1AD4D-855B-4784-AE5C-B8887A3F2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035756950"/>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E347DE-3B7E-45EB-BE12-7733FB266799}"/>
              </a:ext>
            </a:extLst>
          </p:cNvPr>
          <p:cNvGraphicFramePr>
            <a:graphicFrameLocks noChangeAspect="1"/>
          </p:cNvGraphicFramePr>
          <p:nvPr userDrawn="1">
            <p:custDataLst>
              <p:tags r:id="rId1"/>
            </p:custDataLst>
            <p:extLst>
              <p:ext uri="{D42A27DB-BD31-4B8C-83A1-F6EECF244321}">
                <p14:modId xmlns:p14="http://schemas.microsoft.com/office/powerpoint/2010/main" val="308296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F8E347DE-3B7E-45EB-BE12-7733FB266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tx2"/>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113780490"/>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592B8C-073C-442C-B20E-BD6F4E4F74E8}"/>
              </a:ext>
            </a:extLst>
          </p:cNvPr>
          <p:cNvGraphicFramePr>
            <a:graphicFrameLocks noChangeAspect="1"/>
          </p:cNvGraphicFramePr>
          <p:nvPr userDrawn="1">
            <p:custDataLst>
              <p:tags r:id="rId1"/>
            </p:custDataLst>
            <p:extLst>
              <p:ext uri="{D42A27DB-BD31-4B8C-83A1-F6EECF244321}">
                <p14:modId xmlns:p14="http://schemas.microsoft.com/office/powerpoint/2010/main" val="112821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7592B8C-073C-442C-B20E-BD6F4E4F74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83643586"/>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D07340-C78C-4787-8E6C-7388BFE97E7C}"/>
              </a:ext>
            </a:extLst>
          </p:cNvPr>
          <p:cNvGraphicFramePr>
            <a:graphicFrameLocks noChangeAspect="1"/>
          </p:cNvGraphicFramePr>
          <p:nvPr userDrawn="1">
            <p:custDataLst>
              <p:tags r:id="rId1"/>
            </p:custDataLst>
            <p:extLst>
              <p:ext uri="{D42A27DB-BD31-4B8C-83A1-F6EECF244321}">
                <p14:modId xmlns:p14="http://schemas.microsoft.com/office/powerpoint/2010/main" val="202606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E6D07340-C78C-4787-8E6C-7388BFE97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00948266"/>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84177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819D75D1-567D-4143-A53C-A50D866E9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854C7E-320E-4BD9-A0CD-69B3142EB9F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en-GB" smtClean="0"/>
              <a:pPr/>
              <a:t>‹nr.›</a:t>
            </a:fld>
            <a:endParaRPr lang="en-GB"/>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55356989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70470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855F8563-F1CE-4926-B6DB-5AAD40414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982A55-4404-4AE4-A439-0D20394CCAD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lvl1pPr eaLnBrk="1">
              <a:defRPr/>
            </a:lvl1pPr>
          </a:lstStyle>
          <a:p>
            <a:endParaRPr lang="en-GB"/>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en-GB" smtClean="0"/>
              <a:pPr/>
              <a:t>‹nr.›</a:t>
            </a:fld>
            <a:endParaRPr lang="en-GB"/>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212768338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7632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C801597E-00BD-414F-97F6-0E0969360D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4B500B-EB4F-495D-B23A-7B276ED14B3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hasCustomPrompt="1"/>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157325932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224516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AEF05C-5531-4739-BDB0-D561C0550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43EC86-DED2-4A75-8D17-6B6E5542C3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hasCustomPrompt="1"/>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891875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6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6220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E6193B4-FE4E-4483-B86F-92F883AB27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A99F80-3644-4F28-A00A-94C0FAE88A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lvl1pPr eaLnBrk="1">
              <a:defRPr/>
            </a:lvl1p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hasCustomPrompt="1"/>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hasCustomPrompt="1"/>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400375958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F3972-2065-47FE-B8F2-F95205AB8A86}"/>
              </a:ext>
            </a:extLst>
          </p:cNvPr>
          <p:cNvGraphicFramePr>
            <a:graphicFrameLocks noChangeAspect="1"/>
          </p:cNvGraphicFramePr>
          <p:nvPr userDrawn="1">
            <p:custDataLst>
              <p:tags r:id="rId1"/>
            </p:custDataLst>
            <p:extLst>
              <p:ext uri="{D42A27DB-BD31-4B8C-83A1-F6EECF244321}">
                <p14:modId xmlns:p14="http://schemas.microsoft.com/office/powerpoint/2010/main" val="343580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86F3972-2065-47FE-B8F2-F95205AB8A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DA689-9A62-431B-B24D-8CE53B4D421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tx2"/>
                </a:solidFill>
              </a:defRPr>
            </a:lvl1pPr>
          </a:lstStyle>
          <a:p>
            <a:r>
              <a:rPr lang="en-GB"/>
              <a:t>Click to edit Master title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hasCustomPrompt="1"/>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1384999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F354C-695E-437C-8804-36FC7736D56B}"/>
              </a:ext>
            </a:extLst>
          </p:cNvPr>
          <p:cNvGraphicFramePr>
            <a:graphicFrameLocks noChangeAspect="1"/>
          </p:cNvGraphicFramePr>
          <p:nvPr userDrawn="1">
            <p:custDataLst>
              <p:tags r:id="rId1"/>
            </p:custDataLst>
            <p:extLst>
              <p:ext uri="{D42A27DB-BD31-4B8C-83A1-F6EECF244321}">
                <p14:modId xmlns:p14="http://schemas.microsoft.com/office/powerpoint/2010/main" val="49715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93F354C-695E-437C-8804-36FC7736D5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B8CBC6-EA3B-46EB-81D4-6E9922A4CEF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bg2"/>
                </a:solidFill>
              </a:defRPr>
            </a:lvl1pPr>
          </a:lstStyle>
          <a:p>
            <a:r>
              <a:rPr lang="en-GB"/>
              <a:t>Click to edit Master title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hasCustomPrompt="1"/>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15258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113340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81C3530-3AA6-4781-BD17-157FA4774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lvl1pPr eaLnBrk="1">
              <a:defRPr/>
            </a:lvl1pPr>
          </a:lstStyle>
          <a:p>
            <a:endParaRPr lang="en-GB"/>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3020935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94573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51D029-E3BD-4F75-9120-372252E92A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hasCustomPrompt="1"/>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GB"/>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en-GB" smtClean="0"/>
              <a:pPr/>
              <a:t>‹nr.›</a:t>
            </a:fld>
            <a:endParaRPr lang="en-GB"/>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154986345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5DF0D6-9821-49A6-90C9-29F62A8CE8BE}"/>
              </a:ext>
            </a:extLst>
          </p:cNvPr>
          <p:cNvGraphicFramePr>
            <a:graphicFrameLocks noChangeAspect="1"/>
          </p:cNvGraphicFramePr>
          <p:nvPr userDrawn="1">
            <p:custDataLst>
              <p:tags r:id="rId1"/>
            </p:custDataLst>
            <p:extLst>
              <p:ext uri="{D42A27DB-BD31-4B8C-83A1-F6EECF244321}">
                <p14:modId xmlns:p14="http://schemas.microsoft.com/office/powerpoint/2010/main" val="254151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DF5DF0D6-9821-49A6-90C9-29F62A8CE8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C586DF-6B2F-477C-877A-0FC108B0A5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en-GB" sz="1000" b="1" err="1">
                <a:latin typeface="+mj-lt"/>
              </a:rPr>
              <a:t>Skift</a:t>
            </a:r>
            <a:r>
              <a:rPr lang="en-GB" sz="1000" b="1">
                <a:latin typeface="+mj-lt"/>
              </a:rPr>
              <a:t> </a:t>
            </a:r>
            <a:r>
              <a:rPr lang="en-GB" sz="1000" b="1" err="1">
                <a:latin typeface="+mj-lt"/>
              </a:rPr>
              <a:t>billede</a:t>
            </a:r>
            <a:r>
              <a:rPr lang="en-GB" sz="1000" b="1">
                <a:latin typeface="+mj-lt"/>
              </a:rPr>
              <a:t>:</a:t>
            </a:r>
          </a:p>
          <a:p>
            <a:pPr algn="l"/>
            <a:r>
              <a:rPr lang="en-GB" sz="1000" err="1">
                <a:latin typeface="+mj-lt"/>
              </a:rPr>
              <a:t>Klik</a:t>
            </a:r>
            <a:r>
              <a:rPr lang="en-GB" sz="1000">
                <a:latin typeface="+mj-lt"/>
              </a:rPr>
              <a:t> </a:t>
            </a:r>
            <a:r>
              <a:rPr lang="en-GB" sz="1000" err="1">
                <a:latin typeface="+mj-lt"/>
              </a:rPr>
              <a:t>uden</a:t>
            </a:r>
            <a:r>
              <a:rPr lang="en-GB" sz="1000">
                <a:latin typeface="+mj-lt"/>
              </a:rPr>
              <a:t> for format</a:t>
            </a:r>
          </a:p>
          <a:p>
            <a:pPr algn="l"/>
            <a:r>
              <a:rPr lang="en-GB" sz="1000" err="1">
                <a:latin typeface="+mj-lt"/>
              </a:rPr>
              <a:t>Højre</a:t>
            </a:r>
            <a:r>
              <a:rPr lang="en-GB" sz="1000">
                <a:latin typeface="+mj-lt"/>
              </a:rPr>
              <a:t> </a:t>
            </a:r>
            <a:r>
              <a:rPr lang="en-GB" sz="1000" err="1">
                <a:latin typeface="+mj-lt"/>
              </a:rPr>
              <a:t>klik</a:t>
            </a:r>
            <a:r>
              <a:rPr lang="en-GB" sz="1000">
                <a:latin typeface="+mj-lt"/>
              </a:rPr>
              <a:t> for at </a:t>
            </a:r>
            <a:r>
              <a:rPr lang="en-GB" sz="1000" err="1">
                <a:latin typeface="+mj-lt"/>
              </a:rPr>
              <a:t>formatere</a:t>
            </a:r>
            <a:r>
              <a:rPr lang="en-GB" sz="1000">
                <a:latin typeface="+mj-lt"/>
              </a:rPr>
              <a:t> </a:t>
            </a:r>
            <a:r>
              <a:rPr lang="en-GB" sz="1000" err="1">
                <a:latin typeface="+mj-lt"/>
              </a:rPr>
              <a:t>baggrunden</a:t>
            </a:r>
            <a:endParaRPr lang="en-GB" sz="1000">
              <a:latin typeface="+mj-lt"/>
            </a:endParaRPr>
          </a:p>
          <a:p>
            <a:pPr algn="l"/>
            <a:r>
              <a:rPr lang="en-GB" sz="1000" err="1">
                <a:latin typeface="+mj-lt"/>
              </a:rPr>
              <a:t>Klik</a:t>
            </a:r>
            <a:r>
              <a:rPr lang="en-GB" sz="1000">
                <a:latin typeface="+mj-lt"/>
              </a:rPr>
              <a:t> </a:t>
            </a:r>
            <a:r>
              <a:rPr lang="en-GB" sz="1000" err="1">
                <a:latin typeface="+mj-lt"/>
              </a:rPr>
              <a:t>på</a:t>
            </a:r>
            <a:r>
              <a:rPr lang="en-GB" sz="1000">
                <a:latin typeface="+mj-lt"/>
              </a:rPr>
              <a:t> fil og </a:t>
            </a:r>
            <a:r>
              <a:rPr lang="en-GB" sz="1000" err="1">
                <a:latin typeface="+mj-lt"/>
              </a:rPr>
              <a:t>indsæt</a:t>
            </a:r>
            <a:r>
              <a:rPr lang="en-GB" sz="1000">
                <a:latin typeface="+mj-lt"/>
              </a:rPr>
              <a:t> </a:t>
            </a:r>
            <a:r>
              <a:rPr lang="en-GB" sz="1000" err="1">
                <a:latin typeface="+mj-lt"/>
              </a:rPr>
              <a:t>dit</a:t>
            </a:r>
            <a:r>
              <a:rPr lang="en-GB" sz="1000">
                <a:latin typeface="+mj-lt"/>
              </a:rPr>
              <a:t> </a:t>
            </a:r>
            <a:r>
              <a:rPr lang="en-GB" sz="1000" err="1">
                <a:latin typeface="+mj-lt"/>
              </a:rPr>
              <a:t>billede</a:t>
            </a:r>
            <a:r>
              <a:rPr lang="en-GB" sz="1000">
                <a:latin typeface="+mj-lt"/>
              </a:rPr>
              <a:t> </a:t>
            </a:r>
          </a:p>
          <a:p>
            <a:pPr algn="l"/>
            <a:endParaRPr lang="en-GB" sz="1000">
              <a:latin typeface="+mj-lt"/>
            </a:endParaRPr>
          </a:p>
          <a:p>
            <a:pPr algn="l"/>
            <a:endParaRPr lang="en-GB" sz="1000">
              <a:latin typeface="+mj-lt"/>
            </a:endParaRPr>
          </a:p>
          <a:p>
            <a:pPr algn="l"/>
            <a:endParaRPr lang="en-GB"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66739300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57D6B0-063A-459B-9FC1-47C728F25E98}"/>
              </a:ext>
            </a:extLst>
          </p:cNvPr>
          <p:cNvGraphicFramePr>
            <a:graphicFrameLocks noChangeAspect="1"/>
          </p:cNvGraphicFramePr>
          <p:nvPr userDrawn="1">
            <p:custDataLst>
              <p:tags r:id="rId1"/>
            </p:custDataLst>
            <p:extLst>
              <p:ext uri="{D42A27DB-BD31-4B8C-83A1-F6EECF244321}">
                <p14:modId xmlns:p14="http://schemas.microsoft.com/office/powerpoint/2010/main" val="4102457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57D6B0-063A-459B-9FC1-47C728F25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4DBA50-DF29-46BD-B04D-5AFF427F927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324040020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20185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792" y="0"/>
            <a:ext cx="12192792"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95325" y="4573881"/>
            <a:ext cx="8064500" cy="1655762"/>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06250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237462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4163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4851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704792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42632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367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665843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47226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93348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69631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Tree>
    <p:extLst>
      <p:ext uri="{BB962C8B-B14F-4D97-AF65-F5344CB8AC3E}">
        <p14:creationId xmlns:p14="http://schemas.microsoft.com/office/powerpoint/2010/main" val="1181032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820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209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71569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7076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0675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807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0286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26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8221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987702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134768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4091880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48645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21211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7833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17587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579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171025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997902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16" name="Picture 15" descr="A picture containing text, person&#10;&#10;Description automatically generated">
            <a:extLst>
              <a:ext uri="{FF2B5EF4-FFF2-40B4-BE49-F238E27FC236}">
                <a16:creationId xmlns:a16="http://schemas.microsoft.com/office/drawing/2014/main" id="{AB16D70A-2976-46DC-B905-6E5D145FB74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7" name="Text Placeholder 6">
            <a:extLst>
              <a:ext uri="{FF2B5EF4-FFF2-40B4-BE49-F238E27FC236}">
                <a16:creationId xmlns:a16="http://schemas.microsoft.com/office/drawing/2014/main" id="{CE6A0D89-AB76-43EA-8CDF-B638E98386ED}"/>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19" name="Subtitle 2">
            <a:extLst>
              <a:ext uri="{FF2B5EF4-FFF2-40B4-BE49-F238E27FC236}">
                <a16:creationId xmlns:a16="http://schemas.microsoft.com/office/drawing/2014/main" id="{0821A9B1-585E-4177-93D0-EA730E2D410B}"/>
              </a:ext>
            </a:extLst>
          </p:cNvPr>
          <p:cNvSpPr>
            <a:spLocks noGrp="1"/>
          </p:cNvSpPr>
          <p:nvPr>
            <p:ph type="subTitle" idx="1" hasCustomPrompt="1"/>
          </p:nvPr>
        </p:nvSpPr>
        <p:spPr bwMode="white">
          <a:xfrm>
            <a:off x="695325" y="4573881"/>
            <a:ext cx="8064500" cy="1655762"/>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3" name="Title 1">
            <a:extLst>
              <a:ext uri="{FF2B5EF4-FFF2-40B4-BE49-F238E27FC236}">
                <a16:creationId xmlns:a16="http://schemas.microsoft.com/office/drawing/2014/main" id="{D248282A-70A6-4177-A060-FFF31F97190D}"/>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24" name="Rectangle 23">
            <a:extLst>
              <a:ext uri="{FF2B5EF4-FFF2-40B4-BE49-F238E27FC236}">
                <a16:creationId xmlns:a16="http://schemas.microsoft.com/office/drawing/2014/main" id="{AD89B55C-C791-4615-9746-FD6A77E5D56E}"/>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5" name="Graphic 24">
            <a:extLst>
              <a:ext uri="{FF2B5EF4-FFF2-40B4-BE49-F238E27FC236}">
                <a16:creationId xmlns:a16="http://schemas.microsoft.com/office/drawing/2014/main" id="{7ED8B11B-2204-4640-A54F-71213EC7A1C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949263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8276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91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18591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5045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11892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728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5893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728832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79774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22674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75895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10427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4591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1152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186431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8291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31482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145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45672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1948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23117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3402462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707650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sp>
        <p:nvSpPr>
          <p:cNvPr id="59" name="Freeform 58"/>
          <p:cNvSpPr>
            <a:spLocks/>
          </p:cNvSpPr>
          <p:nvPr userDrawn="1"/>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961757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7061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278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09242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8390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446350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88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474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15581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820502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199210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2669617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289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3617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43332-DAC9-46E1-8252-E489C68E69C8}"/>
              </a:ext>
            </a:extLst>
          </p:cNvPr>
          <p:cNvSpPr>
            <a:spLocks noGrp="1"/>
          </p:cNvSpPr>
          <p:nvPr>
            <p:ph type="title"/>
          </p:nvPr>
        </p:nvSpPr>
        <p:spPr/>
        <p:txBody>
          <a:bodyPr/>
          <a:lstStyle/>
          <a:p>
            <a:r>
              <a:rPr lang="en-US"/>
              <a:t>Click to edit Master title style</a:t>
            </a:r>
          </a:p>
        </p:txBody>
      </p:sp>
      <p:pic>
        <p:nvPicPr>
          <p:cNvPr id="3" name="Picture 77">
            <a:extLst>
              <a:ext uri="{FF2B5EF4-FFF2-40B4-BE49-F238E27FC236}">
                <a16:creationId xmlns:a16="http://schemas.microsoft.com/office/drawing/2014/main" id="{B51AFB31-6D03-4B13-87CE-BBC8D8FD43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21063" y="-1547447"/>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16B1DD3-5463-4CB9-86B5-400B547CDCC2}"/>
              </a:ext>
            </a:extLst>
          </p:cNvPr>
          <p:cNvSpPr/>
          <p:nvPr userDrawn="1"/>
        </p:nvSpPr>
        <p:spPr>
          <a:xfrm>
            <a:off x="-4563" y="-1361663"/>
            <a:ext cx="12196563" cy="6863136"/>
          </a:xfrm>
          <a:prstGeom prst="rect">
            <a:avLst/>
          </a:prstGeom>
          <a:solidFill>
            <a:srgbClr val="F2F2F2">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Light"/>
              <a:ea typeface="+mn-ea"/>
              <a:cs typeface="+mn-cs"/>
            </a:endParaRPr>
          </a:p>
        </p:txBody>
      </p:sp>
    </p:spTree>
    <p:extLst>
      <p:ext uri="{BB962C8B-B14F-4D97-AF65-F5344CB8AC3E}">
        <p14:creationId xmlns:p14="http://schemas.microsoft.com/office/powerpoint/2010/main" val="282180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2347644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11101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771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1009893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30000" y="2160063"/>
            <a:ext cx="2819400" cy="259750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COOP" panose="02010504010101010104" pitchFamily="2"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3209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8553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015035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121150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email">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46664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2930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648209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82746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773662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103686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730231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5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739384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59177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98646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1206422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60443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608963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355463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10" name="Rektangel 9">
            <a:extLst>
              <a:ext uri="{FF2B5EF4-FFF2-40B4-BE49-F238E27FC236}">
                <a16:creationId xmlns:a16="http://schemas.microsoft.com/office/drawing/2014/main" id="{1ADC815B-1B6A-4AB5-B4A9-3FCB2E4D7B7E}"/>
              </a:ext>
            </a:extLst>
          </p:cNvPr>
          <p:cNvSpPr/>
          <p:nvPr userDrawn="1"/>
        </p:nvSpPr>
        <p:spPr>
          <a:xfrm>
            <a:off x="378430" y="346255"/>
            <a:ext cx="11435137" cy="61233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978853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20271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Rektangel 7">
            <a:extLst>
              <a:ext uri="{FF2B5EF4-FFF2-40B4-BE49-F238E27FC236}">
                <a16:creationId xmlns:a16="http://schemas.microsoft.com/office/drawing/2014/main" id="{9BB21199-CEF7-4126-A056-F39D444CFF82}"/>
              </a:ext>
            </a:extLst>
          </p:cNvPr>
          <p:cNvSpPr/>
          <p:nvPr userDrawn="1"/>
        </p:nvSpPr>
        <p:spPr>
          <a:xfrm>
            <a:off x="378430" y="346255"/>
            <a:ext cx="11435137" cy="612339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555602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3651584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71869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60832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20990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92079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87231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83026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3057827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14186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881617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580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80478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429162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322186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1427112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3602338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594524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382177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email">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3052767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32042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2261290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240829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a:p>
        </p:txBody>
      </p:sp>
    </p:spTree>
    <p:extLst>
      <p:ext uri="{BB962C8B-B14F-4D97-AF65-F5344CB8AC3E}">
        <p14:creationId xmlns:p14="http://schemas.microsoft.com/office/powerpoint/2010/main" val="2688792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26681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73353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Indhold F">
    <p:spTree>
      <p:nvGrpSpPr>
        <p:cNvPr id="1" name=""/>
        <p:cNvGrpSpPr/>
        <p:nvPr/>
      </p:nvGrpSpPr>
      <p:grpSpPr>
        <a:xfrm>
          <a:off x="0" y="0"/>
          <a:ext cx="0" cy="0"/>
          <a:chOff x="0" y="0"/>
          <a:chExt cx="0" cy="0"/>
        </a:xfrm>
      </p:grpSpPr>
      <p:sp>
        <p:nvSpPr>
          <p:cNvPr id="5" name="Color background">
            <a:extLst>
              <a:ext uri="{FF2B5EF4-FFF2-40B4-BE49-F238E27FC236}">
                <a16:creationId xmlns:a16="http://schemas.microsoft.com/office/drawing/2014/main" id="{B84B0FF3-6466-374B-8071-FC494A58B439}"/>
              </a:ext>
            </a:extLst>
          </p:cNvPr>
          <p:cNvSpPr/>
          <p:nvPr userDrawn="1"/>
        </p:nvSpPr>
        <p:spPr>
          <a:xfrm>
            <a:off x="180000" y="180000"/>
            <a:ext cx="11832120" cy="6498000"/>
          </a:xfrm>
          <a:prstGeom prst="rect">
            <a:avLst/>
          </a:prstGeom>
          <a:solidFill>
            <a:srgbClr val="B0D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1">
            <a:extLst>
              <a:ext uri="{FF2B5EF4-FFF2-40B4-BE49-F238E27FC236}">
                <a16:creationId xmlns:a16="http://schemas.microsoft.com/office/drawing/2014/main" id="{F0CB1943-FEC9-FB40-ABEC-22CC66A86F32}"/>
              </a:ext>
            </a:extLst>
          </p:cNvPr>
          <p:cNvSpPr>
            <a:spLocks noGrp="1"/>
          </p:cNvSpPr>
          <p:nvPr>
            <p:ph type="title" hasCustomPrompt="1"/>
          </p:nvPr>
        </p:nvSpPr>
        <p:spPr>
          <a:xfrm>
            <a:off x="630000" y="360000"/>
            <a:ext cx="10932120" cy="900000"/>
          </a:xfrm>
        </p:spPr>
        <p:txBody>
          <a:bodyPr/>
          <a:lstStyle>
            <a:lvl1pPr>
              <a:defRPr>
                <a:solidFill>
                  <a:schemeClr val="tx1"/>
                </a:solidFill>
              </a:defRPr>
            </a:lvl1pPr>
          </a:lstStyle>
          <a:p>
            <a:r>
              <a:rPr lang="da-DK" noProof="0"/>
              <a:t>Klik for at tilføje titel i maks. to linjer</a:t>
            </a:r>
          </a:p>
        </p:txBody>
      </p:sp>
      <p:sp>
        <p:nvSpPr>
          <p:cNvPr id="7" name="Content Placeholder 2">
            <a:extLst>
              <a:ext uri="{FF2B5EF4-FFF2-40B4-BE49-F238E27FC236}">
                <a16:creationId xmlns:a16="http://schemas.microsoft.com/office/drawing/2014/main" id="{EB0671E9-3316-DB41-996C-2574DABC825B}"/>
              </a:ext>
            </a:extLst>
          </p:cNvPr>
          <p:cNvSpPr>
            <a:spLocks noGrp="1"/>
          </p:cNvSpPr>
          <p:nvPr>
            <p:ph idx="1" hasCustomPrompt="1"/>
          </p:nvPr>
        </p:nvSpPr>
        <p:spPr>
          <a:xfrm>
            <a:off x="630000" y="1440000"/>
            <a:ext cx="1093212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noProof="0"/>
              <a:t>Klik for at tilføje tekst                                                                                                                   Enter+TAB for at se næste tekstformat                                                                                     SHIFT+TAB for at se foregående tekstformat</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 name="Pladsholder til slidenummer 1">
            <a:extLst>
              <a:ext uri="{FF2B5EF4-FFF2-40B4-BE49-F238E27FC236}">
                <a16:creationId xmlns:a16="http://schemas.microsoft.com/office/drawing/2014/main" id="{F28AD450-1B0C-7443-8DBC-D2BC3E40EB22}"/>
              </a:ext>
            </a:extLst>
          </p:cNvPr>
          <p:cNvSpPr>
            <a:spLocks noGrp="1"/>
          </p:cNvSpPr>
          <p:nvPr>
            <p:ph type="sldNum" sz="quarter" idx="10"/>
          </p:nvPr>
        </p:nvSpPr>
        <p:spPr/>
        <p:txBody>
          <a:bodyPr/>
          <a:lstStyle/>
          <a:p>
            <a:fld id="{24C8C45C-947F-4981-8B3F-4F32E973C901}" type="slidenum">
              <a:rPr lang="da-DK" smtClean="0"/>
              <a:pPr/>
              <a:t>‹nr.›</a:t>
            </a:fld>
            <a:endParaRPr lang="da-DK"/>
          </a:p>
        </p:txBody>
      </p:sp>
      <p:pic>
        <p:nvPicPr>
          <p:cNvPr id="14" name="Billede 13">
            <a:extLst>
              <a:ext uri="{FF2B5EF4-FFF2-40B4-BE49-F238E27FC236}">
                <a16:creationId xmlns:a16="http://schemas.microsoft.com/office/drawing/2014/main" id="{A2633DDD-3F57-DC43-B65F-5F702BC38E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5762" y="5407966"/>
            <a:ext cx="968400" cy="1078820"/>
          </a:xfrm>
          <a:prstGeom prst="rect">
            <a:avLst/>
          </a:prstGeom>
        </p:spPr>
      </p:pic>
      <p:sp>
        <p:nvSpPr>
          <p:cNvPr id="8" name="Date Placeholder 2" hidden="1">
            <a:extLst>
              <a:ext uri="{FF2B5EF4-FFF2-40B4-BE49-F238E27FC236}">
                <a16:creationId xmlns:a16="http://schemas.microsoft.com/office/drawing/2014/main" id="{8FF81FB6-D76D-42E2-908B-B4885DD4B9BD}"/>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a:p>
        </p:txBody>
      </p:sp>
      <p:sp>
        <p:nvSpPr>
          <p:cNvPr id="10" name="Footer Placeholder 3" hidden="1">
            <a:extLst>
              <a:ext uri="{FF2B5EF4-FFF2-40B4-BE49-F238E27FC236}">
                <a16:creationId xmlns:a16="http://schemas.microsoft.com/office/drawing/2014/main" id="{34853D39-2E26-4C73-A84C-35700F94597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a:p>
        </p:txBody>
      </p:sp>
      <p:pic>
        <p:nvPicPr>
          <p:cNvPr id="11" name="Picture 10" descr="A red background with white text&#10;&#10;Description automatically generated with medium confidence">
            <a:extLst>
              <a:ext uri="{FF2B5EF4-FFF2-40B4-BE49-F238E27FC236}">
                <a16:creationId xmlns:a16="http://schemas.microsoft.com/office/drawing/2014/main" id="{F346B6B0-A392-48B6-B07D-2DB79AFF158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72451" y="6186477"/>
            <a:ext cx="1243082" cy="284400"/>
          </a:xfrm>
          <a:prstGeom prst="rect">
            <a:avLst/>
          </a:prstGeom>
        </p:spPr>
      </p:pic>
      <p:pic>
        <p:nvPicPr>
          <p:cNvPr id="12" name="Billede 11">
            <a:extLst>
              <a:ext uri="{FF2B5EF4-FFF2-40B4-BE49-F238E27FC236}">
                <a16:creationId xmlns:a16="http://schemas.microsoft.com/office/drawing/2014/main" id="{B86B8CDE-0511-4C41-A705-DEA59E7A61D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70204" y="6168275"/>
            <a:ext cx="1243082" cy="302602"/>
          </a:xfrm>
          <a:prstGeom prst="rect">
            <a:avLst/>
          </a:prstGeom>
        </p:spPr>
      </p:pic>
    </p:spTree>
    <p:extLst>
      <p:ext uri="{BB962C8B-B14F-4D97-AF65-F5344CB8AC3E}">
        <p14:creationId xmlns:p14="http://schemas.microsoft.com/office/powerpoint/2010/main" val="30877319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Indhold 2 F">
    <p:spTree>
      <p:nvGrpSpPr>
        <p:cNvPr id="1" name=""/>
        <p:cNvGrpSpPr/>
        <p:nvPr/>
      </p:nvGrpSpPr>
      <p:grpSpPr>
        <a:xfrm>
          <a:off x="0" y="0"/>
          <a:ext cx="0" cy="0"/>
          <a:chOff x="0" y="0"/>
          <a:chExt cx="0" cy="0"/>
        </a:xfrm>
      </p:grpSpPr>
      <p:sp>
        <p:nvSpPr>
          <p:cNvPr id="5" name="Color background">
            <a:extLst>
              <a:ext uri="{FF2B5EF4-FFF2-40B4-BE49-F238E27FC236}">
                <a16:creationId xmlns:a16="http://schemas.microsoft.com/office/drawing/2014/main" id="{CF27C6E9-B168-2F42-A0A3-6E53989E1016}"/>
              </a:ext>
            </a:extLst>
          </p:cNvPr>
          <p:cNvSpPr/>
          <p:nvPr userDrawn="1"/>
        </p:nvSpPr>
        <p:spPr>
          <a:xfrm>
            <a:off x="180000" y="180000"/>
            <a:ext cx="11832120" cy="6498000"/>
          </a:xfrm>
          <a:prstGeom prst="rect">
            <a:avLst/>
          </a:prstGeom>
          <a:solidFill>
            <a:srgbClr val="B0DE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itle 1">
            <a:extLst>
              <a:ext uri="{FF2B5EF4-FFF2-40B4-BE49-F238E27FC236}">
                <a16:creationId xmlns:a16="http://schemas.microsoft.com/office/drawing/2014/main" id="{35DF5C56-63FB-4745-A9BE-D01024F9BC3E}"/>
              </a:ext>
            </a:extLst>
          </p:cNvPr>
          <p:cNvSpPr>
            <a:spLocks noGrp="1"/>
          </p:cNvSpPr>
          <p:nvPr>
            <p:ph type="title" hasCustomPrompt="1"/>
          </p:nvPr>
        </p:nvSpPr>
        <p:spPr>
          <a:xfrm>
            <a:off x="630000" y="360000"/>
            <a:ext cx="10932120" cy="900000"/>
          </a:xfrm>
        </p:spPr>
        <p:txBody>
          <a:bodyPr/>
          <a:lstStyle>
            <a:lvl1pPr>
              <a:defRPr>
                <a:solidFill>
                  <a:schemeClr val="tx1"/>
                </a:solidFill>
              </a:defRPr>
            </a:lvl1pPr>
          </a:lstStyle>
          <a:p>
            <a:r>
              <a:rPr lang="da-DK"/>
              <a:t>Klik for at tilføje titel i maks. to linjer</a:t>
            </a:r>
          </a:p>
        </p:txBody>
      </p:sp>
      <p:sp>
        <p:nvSpPr>
          <p:cNvPr id="7" name="Content Placeholder 2">
            <a:extLst>
              <a:ext uri="{FF2B5EF4-FFF2-40B4-BE49-F238E27FC236}">
                <a16:creationId xmlns:a16="http://schemas.microsoft.com/office/drawing/2014/main" id="{E7EC9899-9327-0B48-875C-326629E3FCF3}"/>
              </a:ext>
            </a:extLst>
          </p:cNvPr>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tilføje tekst                       Enter+TAB for at se næste tekstformat SHIFT+TAB for at se foregående</a:t>
            </a:r>
          </a:p>
          <a:p>
            <a:pPr lvl="1"/>
            <a:r>
              <a:rPr lang="da-DK"/>
              <a:t>Andet niveau</a:t>
            </a:r>
          </a:p>
          <a:p>
            <a:pPr lvl="2"/>
            <a:r>
              <a:rPr lang="da-DK"/>
              <a:t>Tredje niveau</a:t>
            </a:r>
          </a:p>
          <a:p>
            <a:pPr lvl="3"/>
            <a:r>
              <a:rPr lang="da-DK"/>
              <a:t>Fjerde niveau</a:t>
            </a:r>
          </a:p>
          <a:p>
            <a:pPr lvl="4"/>
            <a:r>
              <a:rPr lang="da-DK"/>
              <a:t>Femte niveau</a:t>
            </a:r>
          </a:p>
        </p:txBody>
      </p:sp>
      <p:sp>
        <p:nvSpPr>
          <p:cNvPr id="8" name="Content Placeholder 3">
            <a:extLst>
              <a:ext uri="{FF2B5EF4-FFF2-40B4-BE49-F238E27FC236}">
                <a16:creationId xmlns:a16="http://schemas.microsoft.com/office/drawing/2014/main" id="{7A3E9315-58B7-8247-878D-516C994A0EEA}"/>
              </a:ext>
            </a:extLst>
          </p:cNvPr>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a:t>Klik for at tilføje tekst                       Enter+TAB for at se næste tekstformat SHIFT+TAB for at se foregående</a:t>
            </a:r>
          </a:p>
          <a:p>
            <a:pPr lvl="1"/>
            <a:r>
              <a:rPr lang="da-DK"/>
              <a:t>Andet niveau</a:t>
            </a:r>
          </a:p>
          <a:p>
            <a:pPr lvl="2"/>
            <a:r>
              <a:rPr lang="da-DK"/>
              <a:t>Tredje niveau</a:t>
            </a:r>
          </a:p>
          <a:p>
            <a:pPr lvl="3"/>
            <a:r>
              <a:rPr lang="da-DK"/>
              <a:t>Fjerde niveau</a:t>
            </a:r>
          </a:p>
          <a:p>
            <a:pPr lvl="4"/>
            <a:r>
              <a:rPr lang="da-DK"/>
              <a:t>Femte niveau</a:t>
            </a:r>
          </a:p>
        </p:txBody>
      </p:sp>
      <p:sp>
        <p:nvSpPr>
          <p:cNvPr id="2" name="Pladsholder til slidenummer 1">
            <a:extLst>
              <a:ext uri="{FF2B5EF4-FFF2-40B4-BE49-F238E27FC236}">
                <a16:creationId xmlns:a16="http://schemas.microsoft.com/office/drawing/2014/main" id="{99598E90-15E4-4E42-9B11-CF6FA213A694}"/>
              </a:ext>
            </a:extLst>
          </p:cNvPr>
          <p:cNvSpPr>
            <a:spLocks noGrp="1"/>
          </p:cNvSpPr>
          <p:nvPr>
            <p:ph type="sldNum" sz="quarter" idx="10"/>
          </p:nvPr>
        </p:nvSpPr>
        <p:spPr/>
        <p:txBody>
          <a:bodyPr/>
          <a:lstStyle/>
          <a:p>
            <a:fld id="{24C8C45C-947F-4981-8B3F-4F32E973C901}" type="slidenum">
              <a:rPr lang="da-DK" smtClean="0"/>
              <a:pPr/>
              <a:t>‹nr.›</a:t>
            </a:fld>
            <a:endParaRPr lang="da-DK"/>
          </a:p>
        </p:txBody>
      </p:sp>
      <p:sp>
        <p:nvSpPr>
          <p:cNvPr id="9" name="Date Placeholder 2" hidden="1">
            <a:extLst>
              <a:ext uri="{FF2B5EF4-FFF2-40B4-BE49-F238E27FC236}">
                <a16:creationId xmlns:a16="http://schemas.microsoft.com/office/drawing/2014/main" id="{143F7923-B1B6-44F0-A38E-3DE9A59430F9}"/>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a:p>
        </p:txBody>
      </p:sp>
      <p:sp>
        <p:nvSpPr>
          <p:cNvPr id="10" name="Footer Placeholder 3" hidden="1">
            <a:extLst>
              <a:ext uri="{FF2B5EF4-FFF2-40B4-BE49-F238E27FC236}">
                <a16:creationId xmlns:a16="http://schemas.microsoft.com/office/drawing/2014/main" id="{B51812C6-D695-4CD2-ABBE-4FD38EC231B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a:p>
        </p:txBody>
      </p:sp>
      <p:pic>
        <p:nvPicPr>
          <p:cNvPr id="14" name="Billede 85" descr="Et billede, der indeholder silhuet&#10;&#10;Automatisk genereret beskrivelse">
            <a:extLst>
              <a:ext uri="{FF2B5EF4-FFF2-40B4-BE49-F238E27FC236}">
                <a16:creationId xmlns:a16="http://schemas.microsoft.com/office/drawing/2014/main" id="{B4D5E023-9006-4D6A-B9EC-7D464994FD3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3669" y="5435325"/>
            <a:ext cx="1080000" cy="1079771"/>
          </a:xfrm>
          <a:prstGeom prst="rect">
            <a:avLst/>
          </a:prstGeom>
        </p:spPr>
      </p:pic>
      <p:pic>
        <p:nvPicPr>
          <p:cNvPr id="12" name="Picture 11" descr="A red background with white text&#10;&#10;Description automatically generated with medium confidence">
            <a:extLst>
              <a:ext uri="{FF2B5EF4-FFF2-40B4-BE49-F238E27FC236}">
                <a16:creationId xmlns:a16="http://schemas.microsoft.com/office/drawing/2014/main" id="{5B65EA9A-B43E-4E53-9C92-B5353434036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72451" y="6186477"/>
            <a:ext cx="1243082" cy="284400"/>
          </a:xfrm>
          <a:prstGeom prst="rect">
            <a:avLst/>
          </a:prstGeom>
        </p:spPr>
      </p:pic>
      <p:pic>
        <p:nvPicPr>
          <p:cNvPr id="11" name="Billede 10">
            <a:extLst>
              <a:ext uri="{FF2B5EF4-FFF2-40B4-BE49-F238E27FC236}">
                <a16:creationId xmlns:a16="http://schemas.microsoft.com/office/drawing/2014/main" id="{FB078E75-5F05-4537-8A3C-1B823D1953D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570204" y="6168275"/>
            <a:ext cx="1243082" cy="302602"/>
          </a:xfrm>
          <a:prstGeom prst="rect">
            <a:avLst/>
          </a:prstGeom>
        </p:spPr>
      </p:pic>
    </p:spTree>
    <p:extLst>
      <p:ext uri="{BB962C8B-B14F-4D97-AF65-F5344CB8AC3E}">
        <p14:creationId xmlns:p14="http://schemas.microsoft.com/office/powerpoint/2010/main" val="390696627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Rectangle 4">
            <a:extLst>
              <a:ext uri="{FF2B5EF4-FFF2-40B4-BE49-F238E27FC236}">
                <a16:creationId xmlns:a16="http://schemas.microsoft.com/office/drawing/2014/main" id="{C694056F-A630-4027-A974-88B8ED23FAD7}"/>
              </a:ext>
            </a:extLst>
          </p:cNvPr>
          <p:cNvSpPr>
            <a:spLocks noGrp="1" noChangeArrowheads="1"/>
          </p:cNvSpPr>
          <p:nvPr>
            <p:ph type="dt" sz="half"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COOP Light"/>
              <a:ea typeface="+mn-ea"/>
              <a:cs typeface="+mn-cs"/>
            </a:endParaRPr>
          </a:p>
        </p:txBody>
      </p:sp>
      <p:sp>
        <p:nvSpPr>
          <p:cNvPr id="5" name="Rectangle 5">
            <a:extLst>
              <a:ext uri="{FF2B5EF4-FFF2-40B4-BE49-F238E27FC236}">
                <a16:creationId xmlns:a16="http://schemas.microsoft.com/office/drawing/2014/main" id="{0F2518EE-FD14-4B8C-8E5E-A10488EE4E06}"/>
              </a:ext>
            </a:extLst>
          </p:cNvPr>
          <p:cNvSpPr>
            <a:spLocks noGrp="1" noChangeArrowheads="1"/>
          </p:cNvSpPr>
          <p:nvPr>
            <p:ph type="ftr" sz="quarter" idx="11"/>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6" name="Rectangle 6">
            <a:extLst>
              <a:ext uri="{FF2B5EF4-FFF2-40B4-BE49-F238E27FC236}">
                <a16:creationId xmlns:a16="http://schemas.microsoft.com/office/drawing/2014/main" id="{EC6A3B6F-1DB3-439C-B340-51435E7DF72A}"/>
              </a:ext>
            </a:extLst>
          </p:cNvPr>
          <p:cNvSpPr>
            <a:spLocks noGrp="1" noChangeArrowheads="1"/>
          </p:cNvSpPr>
          <p:nvPr>
            <p:ph type="sldNum" sz="quarter" idx="12"/>
          </p:nvPr>
        </p:nvSpPr>
        <p:spPr>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0ECA020-FAFA-40D1-BBFE-D23B3C8BBCCF}" type="slidenum">
              <a:rPr kumimoji="0" lang="da-DK" altLang="da-DK" sz="600" b="0" i="0" u="none" strike="noStrike" kern="1200" cap="none" spc="0" normalizeH="0" baseline="0" noProof="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a-DK" altLang="da-DK"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2413334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2124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1113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3348126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544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63277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Tree>
    <p:extLst>
      <p:ext uri="{BB962C8B-B14F-4D97-AF65-F5344CB8AC3E}">
        <p14:creationId xmlns:p14="http://schemas.microsoft.com/office/powerpoint/2010/main" val="3722088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15924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088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024333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771452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1633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416023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560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Tree>
    <p:extLst>
      <p:ext uri="{BB962C8B-B14F-4D97-AF65-F5344CB8AC3E}">
        <p14:creationId xmlns:p14="http://schemas.microsoft.com/office/powerpoint/2010/main" val="2129172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5233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479054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9123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824354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0331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4078631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56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624884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199549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08835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129835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513849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54877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28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136488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119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err="1"/>
              <a:t>Tak</a:t>
            </a:r>
            <a:endParaRPr lang="en-US" dirty="0"/>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38736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71653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521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Tree>
    <p:extLst>
      <p:ext uri="{BB962C8B-B14F-4D97-AF65-F5344CB8AC3E}">
        <p14:creationId xmlns:p14="http://schemas.microsoft.com/office/powerpoint/2010/main" val="759939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20182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7675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2601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874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63472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0047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2099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049538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96698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336886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0219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6983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63386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3985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26302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0292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941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71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822849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0238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86817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490597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454851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205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607707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22331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800" b="1" dirty="0">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2854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358453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498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4156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err="1"/>
              <a:t>Tak</a:t>
            </a:r>
            <a:endParaRPr lang="en-US" dirty="0"/>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559000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492767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501689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OOP" panose="02010504010101010104" pitchFamily="2" charset="0"/>
            </a:endParaRPr>
          </a:p>
        </p:txBody>
      </p:sp>
    </p:spTree>
    <p:extLst>
      <p:ext uri="{BB962C8B-B14F-4D97-AF65-F5344CB8AC3E}">
        <p14:creationId xmlns:p14="http://schemas.microsoft.com/office/powerpoint/2010/main" val="135753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17050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642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2912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41774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12943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COOP" panose="02010504010101010104" pitchFamily="2" charset="0"/>
            </a:endParaRPr>
          </a:p>
        </p:txBody>
      </p:sp>
    </p:spTree>
    <p:extLst>
      <p:ext uri="{BB962C8B-B14F-4D97-AF65-F5344CB8AC3E}">
        <p14:creationId xmlns:p14="http://schemas.microsoft.com/office/powerpoint/2010/main" val="2168778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589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23113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30000" y="2160063"/>
            <a:ext cx="2819400" cy="259750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COOP" panose="02010504010101010104" pitchFamily="2" charset="0"/>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0833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168211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1399221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121150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screen">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418552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2930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3327742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299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82746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613364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103686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2471928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739384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3227047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98646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dirty="0"/>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dirty="0"/>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729127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60443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dirty="0"/>
              <a:t>Edit Master text styles</a:t>
            </a:r>
            <a:endParaRPr lang="da-DK" dirty="0"/>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241678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355463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843908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202714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977210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3651584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dirty="0"/>
              <a:t>Click to edit Master title style</a:t>
            </a:r>
            <a:endParaRPr lang="da-DK" dirty="0"/>
          </a:p>
        </p:txBody>
      </p:sp>
    </p:spTree>
    <p:extLst>
      <p:ext uri="{BB962C8B-B14F-4D97-AF65-F5344CB8AC3E}">
        <p14:creationId xmlns:p14="http://schemas.microsoft.com/office/powerpoint/2010/main" val="1319170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60832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dirty="0"/>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dirty="0"/>
              <a:t>Click to edit Master title style</a:t>
            </a:r>
            <a:endParaRPr lang="da-DK" dirty="0"/>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321028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920796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dirty="0"/>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dirty="0"/>
              <a:t>Click to edit Master title style</a:t>
            </a:r>
            <a:endParaRPr lang="da-DK" dirty="0"/>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Tree>
    <p:extLst>
      <p:ext uri="{BB962C8B-B14F-4D97-AF65-F5344CB8AC3E}">
        <p14:creationId xmlns:p14="http://schemas.microsoft.com/office/powerpoint/2010/main" val="468398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1058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83026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dirty="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dirty="0"/>
          </a:p>
        </p:txBody>
      </p:sp>
    </p:spTree>
    <p:extLst>
      <p:ext uri="{BB962C8B-B14F-4D97-AF65-F5344CB8AC3E}">
        <p14:creationId xmlns:p14="http://schemas.microsoft.com/office/powerpoint/2010/main" val="1000903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14186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dirty="0"/>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dirty="0"/>
          </a:p>
        </p:txBody>
      </p:sp>
    </p:spTree>
    <p:extLst>
      <p:ext uri="{BB962C8B-B14F-4D97-AF65-F5344CB8AC3E}">
        <p14:creationId xmlns:p14="http://schemas.microsoft.com/office/powerpoint/2010/main" val="4131830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80478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dirty="0" err="1"/>
              <a:t>Tak</a:t>
            </a:r>
            <a:r>
              <a:rPr lang="en-US" dirty="0"/>
              <a:t> for </a:t>
            </a:r>
            <a:r>
              <a:rPr lang="en-US" dirty="0" err="1"/>
              <a:t>i</a:t>
            </a:r>
            <a:r>
              <a:rPr lang="en-US" dirty="0"/>
              <a:t> </a:t>
            </a:r>
            <a:r>
              <a:rPr lang="en-US" dirty="0" err="1"/>
              <a:t>dag</a:t>
            </a:r>
            <a:endParaRPr lang="da-DK" dirty="0"/>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dirty="0">
                <a:latin typeface="+mn-lt"/>
                <a:ea typeface="+mn-ea"/>
                <a:cs typeface="+mn-cs"/>
              </a:rPr>
              <a:t>Skift billede:</a:t>
            </a:r>
          </a:p>
          <a:p>
            <a:pPr algn="l"/>
            <a:r>
              <a:rPr lang="da-DK" sz="1000" dirty="0">
                <a:latin typeface="+mn-lt"/>
                <a:ea typeface="+mn-ea"/>
                <a:cs typeface="+mn-cs"/>
              </a:rPr>
              <a:t>Klik uden for format</a:t>
            </a:r>
          </a:p>
          <a:p>
            <a:pPr algn="l"/>
            <a:r>
              <a:rPr lang="da-DK" sz="1000" dirty="0">
                <a:latin typeface="+mn-lt"/>
                <a:ea typeface="+mn-ea"/>
                <a:cs typeface="+mn-cs"/>
              </a:rPr>
              <a:t>Højre klik for at formatere baggrunden</a:t>
            </a:r>
          </a:p>
          <a:p>
            <a:pPr algn="l"/>
            <a:r>
              <a:rPr lang="da-DK" sz="1000" dirty="0">
                <a:latin typeface="+mn-lt"/>
                <a:ea typeface="+mn-ea"/>
                <a:cs typeface="+mn-cs"/>
              </a:rPr>
              <a:t>Klik på fil og indsæt dit billede </a:t>
            </a:r>
          </a:p>
          <a:p>
            <a:pPr algn="l"/>
            <a:endParaRPr lang="da-DK" sz="1000" dirty="0">
              <a:latin typeface="+mn-lt"/>
              <a:ea typeface="+mn-ea"/>
              <a:cs typeface="+mn-cs"/>
            </a:endParaRPr>
          </a:p>
          <a:p>
            <a:pPr algn="l"/>
            <a:endParaRPr lang="da-DK" sz="1000" dirty="0">
              <a:latin typeface="+mn-lt"/>
              <a:ea typeface="+mn-ea"/>
              <a:cs typeface="+mn-cs"/>
            </a:endParaRPr>
          </a:p>
          <a:p>
            <a:pPr algn="l"/>
            <a:endParaRPr lang="da-DK" sz="1000" dirty="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3530458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322186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dirty="0" err="1"/>
              <a:t>Tak</a:t>
            </a:r>
            <a:r>
              <a:rPr lang="en-US" dirty="0"/>
              <a:t> for </a:t>
            </a:r>
            <a:r>
              <a:rPr lang="en-US" dirty="0" err="1"/>
              <a:t>i</a:t>
            </a:r>
            <a:r>
              <a:rPr lang="en-US" dirty="0"/>
              <a:t> </a:t>
            </a:r>
            <a:r>
              <a:rPr lang="en-US" dirty="0" err="1"/>
              <a:t>dag</a:t>
            </a:r>
            <a:endParaRPr lang="da-DK" dirty="0"/>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121871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20894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dirty="0">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125581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382177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screen">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624537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320426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48006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2408292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dirty="0" err="1"/>
              <a:t>Overskrift</a:t>
            </a:r>
            <a:endParaRPr lang="da-DK" dirty="0"/>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dirty="0"/>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9BE60C-6529-421B-A845-DD15027EA2C7}" type="slidenum">
              <a:rPr lang="da-DK" smtClean="0"/>
              <a:pPr/>
              <a:t>‹nr.›</a:t>
            </a:fld>
            <a:endParaRPr lang="da-DK" dirty="0"/>
          </a:p>
        </p:txBody>
      </p:sp>
    </p:spTree>
    <p:extLst>
      <p:ext uri="{BB962C8B-B14F-4D97-AF65-F5344CB8AC3E}">
        <p14:creationId xmlns:p14="http://schemas.microsoft.com/office/powerpoint/2010/main" val="109281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26681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dirty="0"/>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dirty="0" err="1"/>
              <a:t>Overskrift</a:t>
            </a:r>
            <a:endParaRPr lang="da-DK" dirty="0"/>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da-DK" dirty="0"/>
          </a:p>
        </p:txBody>
      </p:sp>
    </p:spTree>
    <p:extLst>
      <p:ext uri="{BB962C8B-B14F-4D97-AF65-F5344CB8AC3E}">
        <p14:creationId xmlns:p14="http://schemas.microsoft.com/office/powerpoint/2010/main" val="2337334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Forside A">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mønster, rød, tøj, Rødbrun&#10;&#10;Automatisk genereret beskrivelse">
            <a:extLst>
              <a:ext uri="{FF2B5EF4-FFF2-40B4-BE49-F238E27FC236}">
                <a16:creationId xmlns:a16="http://schemas.microsoft.com/office/drawing/2014/main" id="{12C07401-9318-408C-A2A1-E857D417B53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7" name="Date Placeholder 2" hidden="1">
            <a:extLst>
              <a:ext uri="{FF2B5EF4-FFF2-40B4-BE49-F238E27FC236}">
                <a16:creationId xmlns:a16="http://schemas.microsoft.com/office/drawing/2014/main" id="{6B289567-0415-4A55-AE47-FED7EB7E0123}"/>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8" name="Footer Placeholder 3" hidden="1">
            <a:extLst>
              <a:ext uri="{FF2B5EF4-FFF2-40B4-BE49-F238E27FC236}">
                <a16:creationId xmlns:a16="http://schemas.microsoft.com/office/drawing/2014/main" id="{B32C2B3A-7279-438D-A80F-5A3B3C1DD7E9}"/>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9" name="Titel 1">
            <a:extLst>
              <a:ext uri="{FF2B5EF4-FFF2-40B4-BE49-F238E27FC236}">
                <a16:creationId xmlns:a16="http://schemas.microsoft.com/office/drawing/2014/main" id="{6B8B0330-1E66-43F5-B823-B939DEE73F0C}"/>
              </a:ext>
            </a:extLst>
          </p:cNvPr>
          <p:cNvSpPr>
            <a:spLocks noGrp="1"/>
          </p:cNvSpPr>
          <p:nvPr>
            <p:ph type="ctrTitle"/>
          </p:nvPr>
        </p:nvSpPr>
        <p:spPr>
          <a:xfrm>
            <a:off x="695325" y="2741906"/>
            <a:ext cx="10394374" cy="1666875"/>
          </a:xfrm>
        </p:spPr>
        <p:txBody>
          <a:bodyPr>
            <a:normAutofit/>
          </a:bodyPr>
          <a:lstStyle>
            <a:lvl1pPr>
              <a:defRPr sz="6000" cap="none" baseline="0">
                <a:latin typeface="Noto Serif" panose="02020600060500020200" pitchFamily="18" charset="0"/>
                <a:ea typeface="Noto Serif" panose="02020600060500020200" pitchFamily="18" charset="0"/>
                <a:cs typeface="Noto Serif" panose="02020600060500020200" pitchFamily="18" charset="0"/>
              </a:defRPr>
            </a:lvl1pPr>
          </a:lstStyle>
          <a:p>
            <a:r>
              <a:rPr lang="da-DK"/>
              <a:t>Klik for at redigere titeltypografien i masteren</a:t>
            </a:r>
            <a:endParaRPr lang="da-DK" dirty="0"/>
          </a:p>
        </p:txBody>
      </p:sp>
      <p:sp>
        <p:nvSpPr>
          <p:cNvPr id="11" name="Subtitle 2">
            <a:extLst>
              <a:ext uri="{FF2B5EF4-FFF2-40B4-BE49-F238E27FC236}">
                <a16:creationId xmlns:a16="http://schemas.microsoft.com/office/drawing/2014/main" id="{DEBDC3E9-3D62-47A4-AEAC-D0C49A6660DA}"/>
              </a:ext>
            </a:extLst>
          </p:cNvPr>
          <p:cNvSpPr>
            <a:spLocks noGrp="1"/>
          </p:cNvSpPr>
          <p:nvPr>
            <p:ph type="subTitle" idx="1"/>
          </p:nvPr>
        </p:nvSpPr>
        <p:spPr>
          <a:xfrm>
            <a:off x="695324" y="4573881"/>
            <a:ext cx="10394373" cy="1655762"/>
          </a:xfrm>
        </p:spPr>
        <p:txBody>
          <a:bodyPr>
            <a:normAutofit/>
          </a:bodyPr>
          <a:lstStyle>
            <a:lvl1pPr marL="0" indent="0" algn="l">
              <a:buNone/>
              <a:defRPr sz="2400"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pic>
        <p:nvPicPr>
          <p:cNvPr id="10" name="Billede 9" descr="Et billede, der indeholder Font/skrifttype, tekst, Grafik, logo&#10;&#10;Automatisk genereret beskrivelse">
            <a:extLst>
              <a:ext uri="{FF2B5EF4-FFF2-40B4-BE49-F238E27FC236}">
                <a16:creationId xmlns:a16="http://schemas.microsoft.com/office/drawing/2014/main" id="{CDCF9AAC-A12F-4EDE-A9FA-37F2C4665F3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1085285833"/>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61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pic>
        <p:nvPicPr>
          <p:cNvPr id="48" name="Billede 47" descr="Et billede, der indeholder mønster, rød, tøj, Rødbrun&#10;&#10;Automatisk genereret beskrivelse">
            <a:extLst>
              <a:ext uri="{FF2B5EF4-FFF2-40B4-BE49-F238E27FC236}">
                <a16:creationId xmlns:a16="http://schemas.microsoft.com/office/drawing/2014/main" id="{5C806D72-4471-4A56-B72E-F05E982462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7" name="Titel 6">
            <a:extLst>
              <a:ext uri="{FF2B5EF4-FFF2-40B4-BE49-F238E27FC236}">
                <a16:creationId xmlns:a16="http://schemas.microsoft.com/office/drawing/2014/main" id="{EBCFD2AD-B14D-FE4C-814D-06443F673DF2}"/>
              </a:ext>
            </a:extLst>
          </p:cNvPr>
          <p:cNvSpPr>
            <a:spLocks noGrp="1"/>
          </p:cNvSpPr>
          <p:nvPr>
            <p:ph type="title" hasCustomPrompt="1"/>
          </p:nvPr>
        </p:nvSpPr>
        <p:spPr bwMode="white"/>
        <p:txBody>
          <a:bodyPr/>
          <a:lstStyle>
            <a:lvl1pPr>
              <a:defRPr sz="3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sp>
        <p:nvSpPr>
          <p:cNvPr id="15" name="Text Placeholder 14">
            <a:extLst>
              <a:ext uri="{FF2B5EF4-FFF2-40B4-BE49-F238E27FC236}">
                <a16:creationId xmlns:a16="http://schemas.microsoft.com/office/drawing/2014/main" id="{715D546A-6922-4B60-B59F-5DB579AE3A47}"/>
              </a:ext>
            </a:extLst>
          </p:cNvPr>
          <p:cNvSpPr>
            <a:spLocks noGrp="1"/>
          </p:cNvSpPr>
          <p:nvPr>
            <p:ph type="body" sz="quarter" idx="19" hasCustomPrompt="1"/>
          </p:nvPr>
        </p:nvSpPr>
        <p:spPr bwMode="white">
          <a:xfrm>
            <a:off x="2386800" y="13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50" name="Pladsholder til tekst 8">
            <a:extLst>
              <a:ext uri="{FF2B5EF4-FFF2-40B4-BE49-F238E27FC236}">
                <a16:creationId xmlns:a16="http://schemas.microsoft.com/office/drawing/2014/main" id="{F6590DBB-96F4-E44F-8EF1-40BEDB9F159D}"/>
              </a:ext>
            </a:extLst>
          </p:cNvPr>
          <p:cNvSpPr>
            <a:spLocks noGrp="1"/>
          </p:cNvSpPr>
          <p:nvPr>
            <p:ph type="body" sz="quarter" idx="30" hasCustomPrompt="1"/>
          </p:nvPr>
        </p:nvSpPr>
        <p:spPr bwMode="white">
          <a:xfrm>
            <a:off x="630000" y="13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6" name="Pladsholder til slidenummer 5">
            <a:extLst>
              <a:ext uri="{FF2B5EF4-FFF2-40B4-BE49-F238E27FC236}">
                <a16:creationId xmlns:a16="http://schemas.microsoft.com/office/drawing/2014/main" id="{2CA3C4BA-8D8E-6748-9FF7-D192D1F115F0}"/>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
        <p:nvSpPr>
          <p:cNvPr id="25" name="Date Placeholder 2" hidden="1">
            <a:extLst>
              <a:ext uri="{FF2B5EF4-FFF2-40B4-BE49-F238E27FC236}">
                <a16:creationId xmlns:a16="http://schemas.microsoft.com/office/drawing/2014/main" id="{D3F876DF-D8C3-4693-8D35-6CFD3B499A83}"/>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27" name="Footer Placeholder 3" hidden="1">
            <a:extLst>
              <a:ext uri="{FF2B5EF4-FFF2-40B4-BE49-F238E27FC236}">
                <a16:creationId xmlns:a16="http://schemas.microsoft.com/office/drawing/2014/main" id="{0F03D341-4130-46F1-AE68-3A96E92833B4}"/>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11" name="Text Placeholder 14">
            <a:extLst>
              <a:ext uri="{FF2B5EF4-FFF2-40B4-BE49-F238E27FC236}">
                <a16:creationId xmlns:a16="http://schemas.microsoft.com/office/drawing/2014/main" id="{18C61E91-C383-4AB1-AE5E-8738338553D1}"/>
              </a:ext>
            </a:extLst>
          </p:cNvPr>
          <p:cNvSpPr>
            <a:spLocks noGrp="1"/>
          </p:cNvSpPr>
          <p:nvPr>
            <p:ph type="body" sz="quarter" idx="37" hasCustomPrompt="1"/>
          </p:nvPr>
        </p:nvSpPr>
        <p:spPr bwMode="white">
          <a:xfrm>
            <a:off x="7542081" y="13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12" name="Text Placeholder 14">
            <a:extLst>
              <a:ext uri="{FF2B5EF4-FFF2-40B4-BE49-F238E27FC236}">
                <a16:creationId xmlns:a16="http://schemas.microsoft.com/office/drawing/2014/main" id="{4BE15EB2-253B-4B1B-AEE1-D7D6704A524C}"/>
              </a:ext>
            </a:extLst>
          </p:cNvPr>
          <p:cNvSpPr>
            <a:spLocks noGrp="1"/>
          </p:cNvSpPr>
          <p:nvPr>
            <p:ph type="body" sz="quarter" idx="38" hasCustomPrompt="1"/>
          </p:nvPr>
        </p:nvSpPr>
        <p:spPr bwMode="white">
          <a:xfrm>
            <a:off x="2386800" y="17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13" name="Pladsholder til tekst 8">
            <a:extLst>
              <a:ext uri="{FF2B5EF4-FFF2-40B4-BE49-F238E27FC236}">
                <a16:creationId xmlns:a16="http://schemas.microsoft.com/office/drawing/2014/main" id="{5E30CA36-DA9A-40B2-B98C-3FC525740D82}"/>
              </a:ext>
            </a:extLst>
          </p:cNvPr>
          <p:cNvSpPr>
            <a:spLocks noGrp="1"/>
          </p:cNvSpPr>
          <p:nvPr>
            <p:ph type="body" sz="quarter" idx="39" hasCustomPrompt="1"/>
          </p:nvPr>
        </p:nvSpPr>
        <p:spPr bwMode="white">
          <a:xfrm>
            <a:off x="630000" y="17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14" name="Text Placeholder 14">
            <a:extLst>
              <a:ext uri="{FF2B5EF4-FFF2-40B4-BE49-F238E27FC236}">
                <a16:creationId xmlns:a16="http://schemas.microsoft.com/office/drawing/2014/main" id="{53F8F98A-F6C0-4C6C-9536-9CB71BA81F0A}"/>
              </a:ext>
            </a:extLst>
          </p:cNvPr>
          <p:cNvSpPr>
            <a:spLocks noGrp="1"/>
          </p:cNvSpPr>
          <p:nvPr>
            <p:ph type="body" sz="quarter" idx="40" hasCustomPrompt="1"/>
          </p:nvPr>
        </p:nvSpPr>
        <p:spPr bwMode="white">
          <a:xfrm>
            <a:off x="7542081" y="17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22" name="Text Placeholder 14">
            <a:extLst>
              <a:ext uri="{FF2B5EF4-FFF2-40B4-BE49-F238E27FC236}">
                <a16:creationId xmlns:a16="http://schemas.microsoft.com/office/drawing/2014/main" id="{B60F8D27-0506-4A83-B347-89DF6BF1941C}"/>
              </a:ext>
            </a:extLst>
          </p:cNvPr>
          <p:cNvSpPr>
            <a:spLocks noGrp="1"/>
          </p:cNvSpPr>
          <p:nvPr>
            <p:ph type="body" sz="quarter" idx="41" hasCustomPrompt="1"/>
          </p:nvPr>
        </p:nvSpPr>
        <p:spPr bwMode="white">
          <a:xfrm>
            <a:off x="2386800" y="20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23" name="Pladsholder til tekst 8">
            <a:extLst>
              <a:ext uri="{FF2B5EF4-FFF2-40B4-BE49-F238E27FC236}">
                <a16:creationId xmlns:a16="http://schemas.microsoft.com/office/drawing/2014/main" id="{40706C8A-7425-45F6-8E69-5A046CC4BBE5}"/>
              </a:ext>
            </a:extLst>
          </p:cNvPr>
          <p:cNvSpPr>
            <a:spLocks noGrp="1"/>
          </p:cNvSpPr>
          <p:nvPr>
            <p:ph type="body" sz="quarter" idx="42" hasCustomPrompt="1"/>
          </p:nvPr>
        </p:nvSpPr>
        <p:spPr bwMode="white">
          <a:xfrm>
            <a:off x="630000" y="20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24" name="Text Placeholder 14">
            <a:extLst>
              <a:ext uri="{FF2B5EF4-FFF2-40B4-BE49-F238E27FC236}">
                <a16:creationId xmlns:a16="http://schemas.microsoft.com/office/drawing/2014/main" id="{2362E770-7876-4A95-89E3-DFAB9ED688CC}"/>
              </a:ext>
            </a:extLst>
          </p:cNvPr>
          <p:cNvSpPr>
            <a:spLocks noGrp="1"/>
          </p:cNvSpPr>
          <p:nvPr>
            <p:ph type="body" sz="quarter" idx="43" hasCustomPrompt="1"/>
          </p:nvPr>
        </p:nvSpPr>
        <p:spPr bwMode="white">
          <a:xfrm>
            <a:off x="7542081" y="20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29" name="Text Placeholder 14">
            <a:extLst>
              <a:ext uri="{FF2B5EF4-FFF2-40B4-BE49-F238E27FC236}">
                <a16:creationId xmlns:a16="http://schemas.microsoft.com/office/drawing/2014/main" id="{0284F61C-6AB2-4941-AE1E-975712FFF1CB}"/>
              </a:ext>
            </a:extLst>
          </p:cNvPr>
          <p:cNvSpPr>
            <a:spLocks noGrp="1"/>
          </p:cNvSpPr>
          <p:nvPr>
            <p:ph type="body" sz="quarter" idx="44" hasCustomPrompt="1"/>
          </p:nvPr>
        </p:nvSpPr>
        <p:spPr bwMode="white">
          <a:xfrm>
            <a:off x="2386800" y="243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0" name="Pladsholder til tekst 8">
            <a:extLst>
              <a:ext uri="{FF2B5EF4-FFF2-40B4-BE49-F238E27FC236}">
                <a16:creationId xmlns:a16="http://schemas.microsoft.com/office/drawing/2014/main" id="{F4940482-ED8F-4305-9253-DFDB3535B4B3}"/>
              </a:ext>
            </a:extLst>
          </p:cNvPr>
          <p:cNvSpPr>
            <a:spLocks noGrp="1"/>
          </p:cNvSpPr>
          <p:nvPr>
            <p:ph type="body" sz="quarter" idx="45" hasCustomPrompt="1"/>
          </p:nvPr>
        </p:nvSpPr>
        <p:spPr bwMode="white">
          <a:xfrm>
            <a:off x="630000" y="243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31" name="Text Placeholder 14">
            <a:extLst>
              <a:ext uri="{FF2B5EF4-FFF2-40B4-BE49-F238E27FC236}">
                <a16:creationId xmlns:a16="http://schemas.microsoft.com/office/drawing/2014/main" id="{3588ECB0-C79C-4698-9F9A-0778A3C71576}"/>
              </a:ext>
            </a:extLst>
          </p:cNvPr>
          <p:cNvSpPr>
            <a:spLocks noGrp="1"/>
          </p:cNvSpPr>
          <p:nvPr>
            <p:ph type="body" sz="quarter" idx="46" hasCustomPrompt="1"/>
          </p:nvPr>
        </p:nvSpPr>
        <p:spPr bwMode="white">
          <a:xfrm>
            <a:off x="7542081" y="243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2" name="Text Placeholder 14">
            <a:extLst>
              <a:ext uri="{FF2B5EF4-FFF2-40B4-BE49-F238E27FC236}">
                <a16:creationId xmlns:a16="http://schemas.microsoft.com/office/drawing/2014/main" id="{CDCFF45F-F741-4173-A5C4-CC12A13C2E61}"/>
              </a:ext>
            </a:extLst>
          </p:cNvPr>
          <p:cNvSpPr>
            <a:spLocks noGrp="1"/>
          </p:cNvSpPr>
          <p:nvPr>
            <p:ph type="body" sz="quarter" idx="47" hasCustomPrompt="1"/>
          </p:nvPr>
        </p:nvSpPr>
        <p:spPr bwMode="white">
          <a:xfrm>
            <a:off x="2386800" y="279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3" name="Pladsholder til tekst 8">
            <a:extLst>
              <a:ext uri="{FF2B5EF4-FFF2-40B4-BE49-F238E27FC236}">
                <a16:creationId xmlns:a16="http://schemas.microsoft.com/office/drawing/2014/main" id="{4DE1CEF9-5D87-4201-B989-A150D086B97A}"/>
              </a:ext>
            </a:extLst>
          </p:cNvPr>
          <p:cNvSpPr>
            <a:spLocks noGrp="1"/>
          </p:cNvSpPr>
          <p:nvPr>
            <p:ph type="body" sz="quarter" idx="48" hasCustomPrompt="1"/>
          </p:nvPr>
        </p:nvSpPr>
        <p:spPr bwMode="white">
          <a:xfrm>
            <a:off x="630000" y="279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lvl="0"/>
            <a:r>
              <a:rPr lang="da-DK" dirty="0"/>
              <a:t>Klik - tilføj tid</a:t>
            </a:r>
          </a:p>
        </p:txBody>
      </p:sp>
      <p:sp>
        <p:nvSpPr>
          <p:cNvPr id="34" name="Text Placeholder 14">
            <a:extLst>
              <a:ext uri="{FF2B5EF4-FFF2-40B4-BE49-F238E27FC236}">
                <a16:creationId xmlns:a16="http://schemas.microsoft.com/office/drawing/2014/main" id="{700B746A-1B82-4DF2-85F4-827F35FBC1BA}"/>
              </a:ext>
            </a:extLst>
          </p:cNvPr>
          <p:cNvSpPr>
            <a:spLocks noGrp="1"/>
          </p:cNvSpPr>
          <p:nvPr>
            <p:ph type="body" sz="quarter" idx="49" hasCustomPrompt="1"/>
          </p:nvPr>
        </p:nvSpPr>
        <p:spPr bwMode="white">
          <a:xfrm>
            <a:off x="7542081" y="279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5" name="Text Placeholder 14">
            <a:extLst>
              <a:ext uri="{FF2B5EF4-FFF2-40B4-BE49-F238E27FC236}">
                <a16:creationId xmlns:a16="http://schemas.microsoft.com/office/drawing/2014/main" id="{324103FD-F4FE-4F6F-85F2-DC21E5B4C84A}"/>
              </a:ext>
            </a:extLst>
          </p:cNvPr>
          <p:cNvSpPr>
            <a:spLocks noGrp="1"/>
          </p:cNvSpPr>
          <p:nvPr>
            <p:ph type="body" sz="quarter" idx="50" hasCustomPrompt="1"/>
          </p:nvPr>
        </p:nvSpPr>
        <p:spPr bwMode="white">
          <a:xfrm>
            <a:off x="2386800" y="31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6" name="Pladsholder til tekst 8">
            <a:extLst>
              <a:ext uri="{FF2B5EF4-FFF2-40B4-BE49-F238E27FC236}">
                <a16:creationId xmlns:a16="http://schemas.microsoft.com/office/drawing/2014/main" id="{A87DD971-7028-4A29-9F26-5C6089FA00D3}"/>
              </a:ext>
            </a:extLst>
          </p:cNvPr>
          <p:cNvSpPr>
            <a:spLocks noGrp="1"/>
          </p:cNvSpPr>
          <p:nvPr>
            <p:ph type="body" sz="quarter" idx="51" hasCustomPrompt="1"/>
          </p:nvPr>
        </p:nvSpPr>
        <p:spPr bwMode="white">
          <a:xfrm>
            <a:off x="630000" y="31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37" name="Text Placeholder 14">
            <a:extLst>
              <a:ext uri="{FF2B5EF4-FFF2-40B4-BE49-F238E27FC236}">
                <a16:creationId xmlns:a16="http://schemas.microsoft.com/office/drawing/2014/main" id="{6BBA8F55-71A8-4ED0-8F1E-6575486B75A5}"/>
              </a:ext>
            </a:extLst>
          </p:cNvPr>
          <p:cNvSpPr>
            <a:spLocks noGrp="1"/>
          </p:cNvSpPr>
          <p:nvPr>
            <p:ph type="body" sz="quarter" idx="52" hasCustomPrompt="1"/>
          </p:nvPr>
        </p:nvSpPr>
        <p:spPr bwMode="white">
          <a:xfrm>
            <a:off x="7542081" y="31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38" name="Text Placeholder 14">
            <a:extLst>
              <a:ext uri="{FF2B5EF4-FFF2-40B4-BE49-F238E27FC236}">
                <a16:creationId xmlns:a16="http://schemas.microsoft.com/office/drawing/2014/main" id="{20A89830-AEB9-4C85-ABAF-4B2DDDF6FED0}"/>
              </a:ext>
            </a:extLst>
          </p:cNvPr>
          <p:cNvSpPr>
            <a:spLocks noGrp="1"/>
          </p:cNvSpPr>
          <p:nvPr>
            <p:ph type="body" sz="quarter" idx="53" hasCustomPrompt="1"/>
          </p:nvPr>
        </p:nvSpPr>
        <p:spPr bwMode="white">
          <a:xfrm>
            <a:off x="2386800" y="35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39" name="Pladsholder til tekst 8">
            <a:extLst>
              <a:ext uri="{FF2B5EF4-FFF2-40B4-BE49-F238E27FC236}">
                <a16:creationId xmlns:a16="http://schemas.microsoft.com/office/drawing/2014/main" id="{8B573C33-9999-40D4-9C69-0CC1A8903E38}"/>
              </a:ext>
            </a:extLst>
          </p:cNvPr>
          <p:cNvSpPr>
            <a:spLocks noGrp="1"/>
          </p:cNvSpPr>
          <p:nvPr>
            <p:ph type="body" sz="quarter" idx="54" hasCustomPrompt="1"/>
          </p:nvPr>
        </p:nvSpPr>
        <p:spPr bwMode="white">
          <a:xfrm>
            <a:off x="630000" y="35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40" name="Text Placeholder 14">
            <a:extLst>
              <a:ext uri="{FF2B5EF4-FFF2-40B4-BE49-F238E27FC236}">
                <a16:creationId xmlns:a16="http://schemas.microsoft.com/office/drawing/2014/main" id="{EAC472E5-BB00-48A8-9FED-4E92E85D896C}"/>
              </a:ext>
            </a:extLst>
          </p:cNvPr>
          <p:cNvSpPr>
            <a:spLocks noGrp="1"/>
          </p:cNvSpPr>
          <p:nvPr>
            <p:ph type="body" sz="quarter" idx="55" hasCustomPrompt="1"/>
          </p:nvPr>
        </p:nvSpPr>
        <p:spPr bwMode="white">
          <a:xfrm>
            <a:off x="7542081" y="35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41" name="Text Placeholder 14">
            <a:extLst>
              <a:ext uri="{FF2B5EF4-FFF2-40B4-BE49-F238E27FC236}">
                <a16:creationId xmlns:a16="http://schemas.microsoft.com/office/drawing/2014/main" id="{F24DDD66-E269-49CA-A8E5-8B1D5C196599}"/>
              </a:ext>
            </a:extLst>
          </p:cNvPr>
          <p:cNvSpPr>
            <a:spLocks noGrp="1"/>
          </p:cNvSpPr>
          <p:nvPr>
            <p:ph type="body" sz="quarter" idx="56" hasCustomPrompt="1"/>
          </p:nvPr>
        </p:nvSpPr>
        <p:spPr bwMode="white">
          <a:xfrm>
            <a:off x="2386800" y="38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42" name="Pladsholder til tekst 8">
            <a:extLst>
              <a:ext uri="{FF2B5EF4-FFF2-40B4-BE49-F238E27FC236}">
                <a16:creationId xmlns:a16="http://schemas.microsoft.com/office/drawing/2014/main" id="{85C0281D-FD36-440C-8A5F-5689EA7C84B0}"/>
              </a:ext>
            </a:extLst>
          </p:cNvPr>
          <p:cNvSpPr>
            <a:spLocks noGrp="1"/>
          </p:cNvSpPr>
          <p:nvPr>
            <p:ph type="body" sz="quarter" idx="57" hasCustomPrompt="1"/>
          </p:nvPr>
        </p:nvSpPr>
        <p:spPr bwMode="white">
          <a:xfrm>
            <a:off x="630000" y="38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43" name="Text Placeholder 14">
            <a:extLst>
              <a:ext uri="{FF2B5EF4-FFF2-40B4-BE49-F238E27FC236}">
                <a16:creationId xmlns:a16="http://schemas.microsoft.com/office/drawing/2014/main" id="{760FABCB-AB6C-41A8-AE9A-3029F7F09BC0}"/>
              </a:ext>
            </a:extLst>
          </p:cNvPr>
          <p:cNvSpPr>
            <a:spLocks noGrp="1"/>
          </p:cNvSpPr>
          <p:nvPr>
            <p:ph type="body" sz="quarter" idx="58" hasCustomPrompt="1"/>
          </p:nvPr>
        </p:nvSpPr>
        <p:spPr bwMode="white">
          <a:xfrm>
            <a:off x="7542081" y="38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57" name="Text Placeholder 14">
            <a:extLst>
              <a:ext uri="{FF2B5EF4-FFF2-40B4-BE49-F238E27FC236}">
                <a16:creationId xmlns:a16="http://schemas.microsoft.com/office/drawing/2014/main" id="{0F9F1F48-C20A-43C8-B580-E5AFC70D0E19}"/>
              </a:ext>
            </a:extLst>
          </p:cNvPr>
          <p:cNvSpPr>
            <a:spLocks noGrp="1"/>
          </p:cNvSpPr>
          <p:nvPr>
            <p:ph type="body" sz="quarter" idx="59" hasCustomPrompt="1"/>
          </p:nvPr>
        </p:nvSpPr>
        <p:spPr bwMode="white">
          <a:xfrm>
            <a:off x="2386800" y="423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58" name="Pladsholder til tekst 8">
            <a:extLst>
              <a:ext uri="{FF2B5EF4-FFF2-40B4-BE49-F238E27FC236}">
                <a16:creationId xmlns:a16="http://schemas.microsoft.com/office/drawing/2014/main" id="{53C80E7F-4EB3-45A3-B3AB-DE90CC063626}"/>
              </a:ext>
            </a:extLst>
          </p:cNvPr>
          <p:cNvSpPr>
            <a:spLocks noGrp="1"/>
          </p:cNvSpPr>
          <p:nvPr>
            <p:ph type="body" sz="quarter" idx="60" hasCustomPrompt="1"/>
          </p:nvPr>
        </p:nvSpPr>
        <p:spPr bwMode="white">
          <a:xfrm>
            <a:off x="630000" y="423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59" name="Text Placeholder 14">
            <a:extLst>
              <a:ext uri="{FF2B5EF4-FFF2-40B4-BE49-F238E27FC236}">
                <a16:creationId xmlns:a16="http://schemas.microsoft.com/office/drawing/2014/main" id="{D2CDDDDD-53F3-4422-A8D4-633DAAD03A77}"/>
              </a:ext>
            </a:extLst>
          </p:cNvPr>
          <p:cNvSpPr>
            <a:spLocks noGrp="1"/>
          </p:cNvSpPr>
          <p:nvPr>
            <p:ph type="body" sz="quarter" idx="61" hasCustomPrompt="1"/>
          </p:nvPr>
        </p:nvSpPr>
        <p:spPr bwMode="white">
          <a:xfrm>
            <a:off x="7542081" y="423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0" name="Text Placeholder 14">
            <a:extLst>
              <a:ext uri="{FF2B5EF4-FFF2-40B4-BE49-F238E27FC236}">
                <a16:creationId xmlns:a16="http://schemas.microsoft.com/office/drawing/2014/main" id="{1CF57D3E-BBB0-4BE5-BEC7-F8882AE9BFFE}"/>
              </a:ext>
            </a:extLst>
          </p:cNvPr>
          <p:cNvSpPr>
            <a:spLocks noGrp="1"/>
          </p:cNvSpPr>
          <p:nvPr>
            <p:ph type="body" sz="quarter" idx="62" hasCustomPrompt="1"/>
          </p:nvPr>
        </p:nvSpPr>
        <p:spPr bwMode="white">
          <a:xfrm>
            <a:off x="2386800" y="459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1" name="Pladsholder til tekst 8">
            <a:extLst>
              <a:ext uri="{FF2B5EF4-FFF2-40B4-BE49-F238E27FC236}">
                <a16:creationId xmlns:a16="http://schemas.microsoft.com/office/drawing/2014/main" id="{64B4262B-B53F-4DD1-A4F7-850F450F95A3}"/>
              </a:ext>
            </a:extLst>
          </p:cNvPr>
          <p:cNvSpPr>
            <a:spLocks noGrp="1"/>
          </p:cNvSpPr>
          <p:nvPr>
            <p:ph type="body" sz="quarter" idx="63" hasCustomPrompt="1"/>
          </p:nvPr>
        </p:nvSpPr>
        <p:spPr bwMode="white">
          <a:xfrm>
            <a:off x="630000" y="459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2" name="Text Placeholder 14">
            <a:extLst>
              <a:ext uri="{FF2B5EF4-FFF2-40B4-BE49-F238E27FC236}">
                <a16:creationId xmlns:a16="http://schemas.microsoft.com/office/drawing/2014/main" id="{B46675EA-7A06-4105-BF6B-A75FA40E713D}"/>
              </a:ext>
            </a:extLst>
          </p:cNvPr>
          <p:cNvSpPr>
            <a:spLocks noGrp="1"/>
          </p:cNvSpPr>
          <p:nvPr>
            <p:ph type="body" sz="quarter" idx="64" hasCustomPrompt="1"/>
          </p:nvPr>
        </p:nvSpPr>
        <p:spPr bwMode="white">
          <a:xfrm>
            <a:off x="7542081" y="459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3" name="Text Placeholder 14">
            <a:extLst>
              <a:ext uri="{FF2B5EF4-FFF2-40B4-BE49-F238E27FC236}">
                <a16:creationId xmlns:a16="http://schemas.microsoft.com/office/drawing/2014/main" id="{B9426712-97C3-412E-B4DD-D1331F889AA2}"/>
              </a:ext>
            </a:extLst>
          </p:cNvPr>
          <p:cNvSpPr>
            <a:spLocks noGrp="1"/>
          </p:cNvSpPr>
          <p:nvPr>
            <p:ph type="body" sz="quarter" idx="65" hasCustomPrompt="1"/>
          </p:nvPr>
        </p:nvSpPr>
        <p:spPr bwMode="white">
          <a:xfrm>
            <a:off x="2386800" y="495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4" name="Pladsholder til tekst 8">
            <a:extLst>
              <a:ext uri="{FF2B5EF4-FFF2-40B4-BE49-F238E27FC236}">
                <a16:creationId xmlns:a16="http://schemas.microsoft.com/office/drawing/2014/main" id="{ADBC0E23-767A-42D6-AB1C-A49FD8908B86}"/>
              </a:ext>
            </a:extLst>
          </p:cNvPr>
          <p:cNvSpPr>
            <a:spLocks noGrp="1"/>
          </p:cNvSpPr>
          <p:nvPr>
            <p:ph type="body" sz="quarter" idx="66" hasCustomPrompt="1"/>
          </p:nvPr>
        </p:nvSpPr>
        <p:spPr bwMode="white">
          <a:xfrm>
            <a:off x="630000" y="495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5" name="Text Placeholder 14">
            <a:extLst>
              <a:ext uri="{FF2B5EF4-FFF2-40B4-BE49-F238E27FC236}">
                <a16:creationId xmlns:a16="http://schemas.microsoft.com/office/drawing/2014/main" id="{6F41C81C-9944-462B-AC3B-564B1AD2A76F}"/>
              </a:ext>
            </a:extLst>
          </p:cNvPr>
          <p:cNvSpPr>
            <a:spLocks noGrp="1"/>
          </p:cNvSpPr>
          <p:nvPr>
            <p:ph type="body" sz="quarter" idx="67" hasCustomPrompt="1"/>
          </p:nvPr>
        </p:nvSpPr>
        <p:spPr bwMode="white">
          <a:xfrm>
            <a:off x="7542081" y="495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66" name="Text Placeholder 14">
            <a:extLst>
              <a:ext uri="{FF2B5EF4-FFF2-40B4-BE49-F238E27FC236}">
                <a16:creationId xmlns:a16="http://schemas.microsoft.com/office/drawing/2014/main" id="{1908C474-8B1C-4FC1-94E9-186E53B7F538}"/>
              </a:ext>
            </a:extLst>
          </p:cNvPr>
          <p:cNvSpPr>
            <a:spLocks noGrp="1"/>
          </p:cNvSpPr>
          <p:nvPr>
            <p:ph type="body" sz="quarter" idx="68" hasCustomPrompt="1"/>
          </p:nvPr>
        </p:nvSpPr>
        <p:spPr bwMode="white">
          <a:xfrm>
            <a:off x="2386800" y="531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67" name="Pladsholder til tekst 8">
            <a:extLst>
              <a:ext uri="{FF2B5EF4-FFF2-40B4-BE49-F238E27FC236}">
                <a16:creationId xmlns:a16="http://schemas.microsoft.com/office/drawing/2014/main" id="{DB399C79-15D6-4620-BA5B-BA3D19A26B8B}"/>
              </a:ext>
            </a:extLst>
          </p:cNvPr>
          <p:cNvSpPr>
            <a:spLocks noGrp="1"/>
          </p:cNvSpPr>
          <p:nvPr>
            <p:ph type="body" sz="quarter" idx="69" hasCustomPrompt="1"/>
          </p:nvPr>
        </p:nvSpPr>
        <p:spPr bwMode="white">
          <a:xfrm>
            <a:off x="630000" y="531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68" name="Text Placeholder 14">
            <a:extLst>
              <a:ext uri="{FF2B5EF4-FFF2-40B4-BE49-F238E27FC236}">
                <a16:creationId xmlns:a16="http://schemas.microsoft.com/office/drawing/2014/main" id="{6522F264-69D3-4FBE-A969-B00C869C4CCC}"/>
              </a:ext>
            </a:extLst>
          </p:cNvPr>
          <p:cNvSpPr>
            <a:spLocks noGrp="1"/>
          </p:cNvSpPr>
          <p:nvPr>
            <p:ph type="body" sz="quarter" idx="70" hasCustomPrompt="1"/>
          </p:nvPr>
        </p:nvSpPr>
        <p:spPr bwMode="white">
          <a:xfrm>
            <a:off x="7542081" y="531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sp>
        <p:nvSpPr>
          <p:cNvPr id="70" name="Text Placeholder 14">
            <a:extLst>
              <a:ext uri="{FF2B5EF4-FFF2-40B4-BE49-F238E27FC236}">
                <a16:creationId xmlns:a16="http://schemas.microsoft.com/office/drawing/2014/main" id="{F527B67B-C72C-42EB-AE3E-CD1373743AFB}"/>
              </a:ext>
            </a:extLst>
          </p:cNvPr>
          <p:cNvSpPr>
            <a:spLocks noGrp="1"/>
          </p:cNvSpPr>
          <p:nvPr>
            <p:ph type="body" sz="quarter" idx="71" hasCustomPrompt="1"/>
          </p:nvPr>
        </p:nvSpPr>
        <p:spPr bwMode="white">
          <a:xfrm>
            <a:off x="2386800" y="5670000"/>
            <a:ext cx="5156391"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emne</a:t>
            </a:r>
          </a:p>
        </p:txBody>
      </p:sp>
      <p:sp>
        <p:nvSpPr>
          <p:cNvPr id="71" name="Pladsholder til tekst 8">
            <a:extLst>
              <a:ext uri="{FF2B5EF4-FFF2-40B4-BE49-F238E27FC236}">
                <a16:creationId xmlns:a16="http://schemas.microsoft.com/office/drawing/2014/main" id="{1CE0A97F-158C-4F18-BA42-8C6FD3999524}"/>
              </a:ext>
            </a:extLst>
          </p:cNvPr>
          <p:cNvSpPr>
            <a:spLocks noGrp="1"/>
          </p:cNvSpPr>
          <p:nvPr>
            <p:ph type="body" sz="quarter" idx="72" hasCustomPrompt="1"/>
          </p:nvPr>
        </p:nvSpPr>
        <p:spPr bwMode="white">
          <a:xfrm>
            <a:off x="630000" y="5670000"/>
            <a:ext cx="1755690" cy="360000"/>
          </a:xfrm>
        </p:spPr>
        <p:txBody>
          <a:bodyPr anchor="ctr"/>
          <a:lstStyle>
            <a:lvl1pPr marL="0" indent="0" algn="ctr">
              <a:buNone/>
              <a:defRPr sz="1800" b="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Klik - tilføj tid</a:t>
            </a:r>
          </a:p>
        </p:txBody>
      </p:sp>
      <p:sp>
        <p:nvSpPr>
          <p:cNvPr id="72" name="Text Placeholder 14">
            <a:extLst>
              <a:ext uri="{FF2B5EF4-FFF2-40B4-BE49-F238E27FC236}">
                <a16:creationId xmlns:a16="http://schemas.microsoft.com/office/drawing/2014/main" id="{5C4A5EB6-17D6-46FF-9B26-6DC161D45AA5}"/>
              </a:ext>
            </a:extLst>
          </p:cNvPr>
          <p:cNvSpPr>
            <a:spLocks noGrp="1"/>
          </p:cNvSpPr>
          <p:nvPr>
            <p:ph type="body" sz="quarter" idx="73" hasCustomPrompt="1"/>
          </p:nvPr>
        </p:nvSpPr>
        <p:spPr bwMode="white">
          <a:xfrm>
            <a:off x="7542081" y="5670000"/>
            <a:ext cx="4019919" cy="360000"/>
          </a:xfrm>
        </p:spPr>
        <p:txBody>
          <a:bodyPr lIns="180000" anchor="ctr" anchorCtr="0"/>
          <a:lstStyle>
            <a:lvl1pPr marL="0" indent="0">
              <a:spcAft>
                <a:spcPts val="0"/>
              </a:spcAft>
              <a:buNone/>
              <a:defRPr sz="18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180000" indent="0">
              <a:buNone/>
              <a:defRPr sz="2000"/>
            </a:lvl2pPr>
          </a:lstStyle>
          <a:p>
            <a:pPr lvl="0"/>
            <a:r>
              <a:rPr lang="da-DK" dirty="0"/>
              <a:t>Klik for at tilføje taler</a:t>
            </a:r>
          </a:p>
        </p:txBody>
      </p:sp>
      <p:pic>
        <p:nvPicPr>
          <p:cNvPr id="49" name="Billede 48" descr="Et billede, der indeholder Font/skrifttype, tekst, Grafik, logo&#10;&#10;Automatisk genereret beskrivelse">
            <a:extLst>
              <a:ext uri="{FF2B5EF4-FFF2-40B4-BE49-F238E27FC236}">
                <a16:creationId xmlns:a16="http://schemas.microsoft.com/office/drawing/2014/main" id="{B72B9401-9928-4178-8332-6D7379B40C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774267543"/>
      </p:ext>
    </p:extLst>
  </p:cSld>
  <p:clrMapOvr>
    <a:overrideClrMapping bg1="dk1" tx1="lt1" bg2="dk2" tx2="lt2" accent1="accent1" accent2="accent2" accent3="accent3" accent4="accent4" accent5="accent5" accent6="accent6" hlink="hlink" folHlink="folHlink"/>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Breaker_B_Rød">
    <p:bg>
      <p:bgRef idx="1001">
        <a:schemeClr val="bg1"/>
      </p:bgRef>
    </p:bg>
    <p:spTree>
      <p:nvGrpSpPr>
        <p:cNvPr id="1" name=""/>
        <p:cNvGrpSpPr/>
        <p:nvPr/>
      </p:nvGrpSpPr>
      <p:grpSpPr>
        <a:xfrm>
          <a:off x="0" y="0"/>
          <a:ext cx="0" cy="0"/>
          <a:chOff x="0" y="0"/>
          <a:chExt cx="0" cy="0"/>
        </a:xfrm>
      </p:grpSpPr>
      <p:pic>
        <p:nvPicPr>
          <p:cNvPr id="7" name="Billede 6" descr="Et billede, der indeholder mønster, rød, tøj, Rødbrun&#10;&#10;Automatisk genereret beskrivelse">
            <a:extLst>
              <a:ext uri="{FF2B5EF4-FFF2-40B4-BE49-F238E27FC236}">
                <a16:creationId xmlns:a16="http://schemas.microsoft.com/office/drawing/2014/main" id="{9C01AFC6-9458-4D3D-AA76-ED6BD944D12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8" name="Date Placeholder 2" hidden="1">
            <a:extLst>
              <a:ext uri="{FF2B5EF4-FFF2-40B4-BE49-F238E27FC236}">
                <a16:creationId xmlns:a16="http://schemas.microsoft.com/office/drawing/2014/main" id="{CB9BCCF8-3703-4A11-86CC-B94CF2CB0869}"/>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0" name="Footer Placeholder 3" hidden="1">
            <a:extLst>
              <a:ext uri="{FF2B5EF4-FFF2-40B4-BE49-F238E27FC236}">
                <a16:creationId xmlns:a16="http://schemas.microsoft.com/office/drawing/2014/main" id="{E081446D-888C-47FB-BA80-7E52EBF4CF70}"/>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pic>
        <p:nvPicPr>
          <p:cNvPr id="9" name="Billede 8" descr="Et billede, der indeholder Font/skrifttype, tekst, Grafik, logo&#10;&#10;Automatisk genereret beskrivelse">
            <a:extLst>
              <a:ext uri="{FF2B5EF4-FFF2-40B4-BE49-F238E27FC236}">
                <a16:creationId xmlns:a16="http://schemas.microsoft.com/office/drawing/2014/main" id="{1FBFDFAC-5CB0-4B91-928A-AD8B82057C2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4283595378"/>
      </p:ext>
    </p:extLst>
  </p:cSld>
  <p:clrMapOvr>
    <a:overrideClrMapping bg1="lt1" tx1="dk1" bg2="lt2" tx2="dk2" accent1="accent1" accent2="accent2" accent3="accent3" accent4="accent4" accent5="accent5" accent6="accent6" hlink="hlink" folHlink="folHlink"/>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er_A_Hvid">
    <p:spTree>
      <p:nvGrpSpPr>
        <p:cNvPr id="1" name=""/>
        <p:cNvGrpSpPr/>
        <p:nvPr/>
      </p:nvGrpSpPr>
      <p:grpSpPr>
        <a:xfrm>
          <a:off x="0" y="0"/>
          <a:ext cx="0" cy="0"/>
          <a:chOff x="0" y="0"/>
          <a:chExt cx="0" cy="0"/>
        </a:xfrm>
      </p:grpSpPr>
      <p:pic>
        <p:nvPicPr>
          <p:cNvPr id="10" name="Billede 9" descr="Et billede, der indeholder Parallel, linje/række, hvid&#10;&#10;Automatisk genereret beskrivelse">
            <a:extLst>
              <a:ext uri="{FF2B5EF4-FFF2-40B4-BE49-F238E27FC236}">
                <a16:creationId xmlns:a16="http://schemas.microsoft.com/office/drawing/2014/main" id="{2E57F8B3-BBDC-4022-9FF8-8974169B34F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922361C0-47AC-4CA1-9156-C470791DF6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86016018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reaker_C_Lilla">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tekst, Parallel, linje/række, skærmbillede&#10;&#10;Automatisk genereret beskrivelse">
            <a:extLst>
              <a:ext uri="{FF2B5EF4-FFF2-40B4-BE49-F238E27FC236}">
                <a16:creationId xmlns:a16="http://schemas.microsoft.com/office/drawing/2014/main" id="{F0BB1C44-7DA7-414A-B5B7-898E2836150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10" name="Date Placeholder 2" hidden="1">
            <a:extLst>
              <a:ext uri="{FF2B5EF4-FFF2-40B4-BE49-F238E27FC236}">
                <a16:creationId xmlns:a16="http://schemas.microsoft.com/office/drawing/2014/main" id="{B14B9380-D305-4B17-9347-9A6EB9904EE4}"/>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189F102D-D7DD-481D-99B0-5954CD7ACB2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D7E5D0C6-88FA-43BA-BA15-DD171BA2F391}"/>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8" name="Billede 7">
            <a:extLst>
              <a:ext uri="{FF2B5EF4-FFF2-40B4-BE49-F238E27FC236}">
                <a16:creationId xmlns:a16="http://schemas.microsoft.com/office/drawing/2014/main" id="{FBAAA03D-3343-43FB-AC9D-D7609EB551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652971748"/>
      </p:ext>
    </p:extLst>
  </p:cSld>
  <p:clrMapOvr>
    <a:overrideClrMapping bg1="dk1" tx1="lt1" bg2="dk2" tx2="lt2" accent1="accent1" accent2="accent2" accent3="accent3" accent4="accent4" accent5="accent5" accent6="accent6" hlink="hlink" folHlink="folHlink"/>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er_D_Lyseblå">
    <p:spTree>
      <p:nvGrpSpPr>
        <p:cNvPr id="1" name=""/>
        <p:cNvGrpSpPr/>
        <p:nvPr/>
      </p:nvGrpSpPr>
      <p:grpSpPr>
        <a:xfrm>
          <a:off x="0" y="0"/>
          <a:ext cx="0" cy="0"/>
          <a:chOff x="0" y="0"/>
          <a:chExt cx="0" cy="0"/>
        </a:xfrm>
      </p:grpSpPr>
      <p:pic>
        <p:nvPicPr>
          <p:cNvPr id="7" name="Billede 6" descr="Et billede, der indeholder Parallel, mønster, linje/række, stof&#10;&#10;Automatisk genereret beskrivelse">
            <a:extLst>
              <a:ext uri="{FF2B5EF4-FFF2-40B4-BE49-F238E27FC236}">
                <a16:creationId xmlns:a16="http://schemas.microsoft.com/office/drawing/2014/main" id="{65AB241E-FB2D-4E81-B8AE-EB790562F05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2CD6D5D4-1182-4A1B-8222-F7617D42F85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89095143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er_E_Lysegrøn">
    <p:spTree>
      <p:nvGrpSpPr>
        <p:cNvPr id="1" name=""/>
        <p:cNvGrpSpPr/>
        <p:nvPr/>
      </p:nvGrpSpPr>
      <p:grpSpPr>
        <a:xfrm>
          <a:off x="0" y="0"/>
          <a:ext cx="0" cy="0"/>
          <a:chOff x="0" y="0"/>
          <a:chExt cx="0" cy="0"/>
        </a:xfrm>
      </p:grpSpPr>
      <p:pic>
        <p:nvPicPr>
          <p:cNvPr id="3" name="Billede 2" descr="Et billede, der indeholder grøn, Farverigt, mønster, Rektangel&#10;&#10;Automatisk genereret beskrivelse">
            <a:extLst>
              <a:ext uri="{FF2B5EF4-FFF2-40B4-BE49-F238E27FC236}">
                <a16:creationId xmlns:a16="http://schemas.microsoft.com/office/drawing/2014/main" id="{F271B555-C10E-47BF-940D-2B26625B147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E483DB8F-10A3-478A-A7EA-1B30507344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70676514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reaker_F_Gul">
    <p:spTree>
      <p:nvGrpSpPr>
        <p:cNvPr id="1" name=""/>
        <p:cNvGrpSpPr/>
        <p:nvPr/>
      </p:nvGrpSpPr>
      <p:grpSpPr>
        <a:xfrm>
          <a:off x="0" y="0"/>
          <a:ext cx="0" cy="0"/>
          <a:chOff x="0" y="0"/>
          <a:chExt cx="0" cy="0"/>
        </a:xfrm>
      </p:grpSpPr>
      <p:pic>
        <p:nvPicPr>
          <p:cNvPr id="7" name="Billede 6" descr="Et billede, der indeholder Beige, mønster, gul, Parallel&#10;&#10;Automatisk genereret beskrivelse">
            <a:extLst>
              <a:ext uri="{FF2B5EF4-FFF2-40B4-BE49-F238E27FC236}">
                <a16:creationId xmlns:a16="http://schemas.microsoft.com/office/drawing/2014/main" id="{A65BF88F-2384-4A62-BB0D-32259F587D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8" name="Date Placeholder 2" hidden="1">
            <a:extLst>
              <a:ext uri="{FF2B5EF4-FFF2-40B4-BE49-F238E27FC236}">
                <a16:creationId xmlns:a16="http://schemas.microsoft.com/office/drawing/2014/main" id="{BEA2C58C-EBF8-4272-B32B-158E15DD217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2A2D0A4B-CA3A-4626-986F-8850C94029E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Title 1">
            <a:extLst>
              <a:ext uri="{FF2B5EF4-FFF2-40B4-BE49-F238E27FC236}">
                <a16:creationId xmlns:a16="http://schemas.microsoft.com/office/drawing/2014/main" id="{3F3A15B2-BF7E-42C6-AF34-B18E2DCF32DA}"/>
              </a:ext>
            </a:extLst>
          </p:cNvPr>
          <p:cNvSpPr>
            <a:spLocks noGrp="1"/>
          </p:cNvSpPr>
          <p:nvPr>
            <p:ph type="ctrTitle" hasCustomPrompt="1"/>
          </p:nvPr>
        </p:nvSpPr>
        <p:spPr>
          <a:xfrm>
            <a:off x="630000" y="2478098"/>
            <a:ext cx="10932121" cy="1901805"/>
          </a:xfrm>
        </p:spPr>
        <p:txBody>
          <a:bodyPr anchor="ctr" anchorCtr="0"/>
          <a:lstStyle>
            <a:lvl1pPr algn="l">
              <a:defRPr sz="60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pic>
        <p:nvPicPr>
          <p:cNvPr id="9" name="Billede 8">
            <a:extLst>
              <a:ext uri="{FF2B5EF4-FFF2-40B4-BE49-F238E27FC236}">
                <a16:creationId xmlns:a16="http://schemas.microsoft.com/office/drawing/2014/main" id="{83A8A9AD-B6AE-4B1A-8207-A1B96A1326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2141950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ndhold_B_Rød">
    <p:bg>
      <p:bgPr>
        <a:solidFill>
          <a:schemeClr val="tx1"/>
        </a:solidFill>
        <a:effectLst/>
      </p:bgPr>
    </p:bg>
    <p:spTree>
      <p:nvGrpSpPr>
        <p:cNvPr id="1" name=""/>
        <p:cNvGrpSpPr/>
        <p:nvPr/>
      </p:nvGrpSpPr>
      <p:grpSpPr>
        <a:xfrm>
          <a:off x="0" y="0"/>
          <a:ext cx="0" cy="0"/>
          <a:chOff x="0" y="0"/>
          <a:chExt cx="0" cy="0"/>
        </a:xfrm>
      </p:grpSpPr>
      <p:pic>
        <p:nvPicPr>
          <p:cNvPr id="10" name="Billede 9" descr="Et billede, der indeholder mønster, rød, tøj, Rødbrun&#10;&#10;Automatisk genereret beskrivelse">
            <a:extLst>
              <a:ext uri="{FF2B5EF4-FFF2-40B4-BE49-F238E27FC236}">
                <a16:creationId xmlns:a16="http://schemas.microsoft.com/office/drawing/2014/main" id="{8949EDBC-73EE-41A2-A80E-0C45ACAF79D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descr="Et billede, der indeholder Font/skrifttype, tekst, Grafik, logo&#10;&#10;Automatisk genereret beskrivelse">
            <a:extLst>
              <a:ext uri="{FF2B5EF4-FFF2-40B4-BE49-F238E27FC236}">
                <a16:creationId xmlns:a16="http://schemas.microsoft.com/office/drawing/2014/main" id="{BCE8BE96-A3F9-46D0-95CA-AA316EDAEE1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3826519990"/>
      </p:ext>
    </p:extLst>
  </p:cSld>
  <p:clrMapOvr>
    <a:overrideClrMapping bg1="dk1" tx1="lt1" bg2="dk2" tx2="lt2" accent1="accent1" accent2="accent2" accent3="accent3" accent4="accent4" accent5="accent5" accent6="accent6" hlink="hlink" folHlink="folHlink"/>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Indhold_A_Hvid">
    <p:bg>
      <p:bgPr>
        <a:solidFill>
          <a:schemeClr val="tx1">
            <a:alpha val="50400"/>
          </a:schemeClr>
        </a:solidFill>
        <a:effectLst/>
      </p:bgPr>
    </p:bg>
    <p:spTree>
      <p:nvGrpSpPr>
        <p:cNvPr id="1" name=""/>
        <p:cNvGrpSpPr/>
        <p:nvPr/>
      </p:nvGrpSpPr>
      <p:grpSpPr>
        <a:xfrm>
          <a:off x="0" y="0"/>
          <a:ext cx="0" cy="0"/>
          <a:chOff x="0" y="0"/>
          <a:chExt cx="0" cy="0"/>
        </a:xfrm>
      </p:grpSpPr>
      <p:pic>
        <p:nvPicPr>
          <p:cNvPr id="12" name="Billede 11" descr="Et billede, der indeholder Parallel, linje/række, hvid&#10;&#10;Automatisk genereret beskrivelse">
            <a:extLst>
              <a:ext uri="{FF2B5EF4-FFF2-40B4-BE49-F238E27FC236}">
                <a16:creationId xmlns:a16="http://schemas.microsoft.com/office/drawing/2014/main" id="{0662BFCB-26A7-4159-B041-96562AA991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Titel 4">
            <a:extLst>
              <a:ext uri="{FF2B5EF4-FFF2-40B4-BE49-F238E27FC236}">
                <a16:creationId xmlns:a16="http://schemas.microsoft.com/office/drawing/2014/main" id="{87D64891-B50E-B846-BFB5-3EA4C90D61D5}"/>
              </a:ext>
            </a:extLst>
          </p:cNvPr>
          <p:cNvSpPr>
            <a:spLocks noGrp="1"/>
          </p:cNvSpPr>
          <p:nvPr>
            <p:ph type="title" hasCustomPrompt="1"/>
          </p:nvPr>
        </p:nvSpPr>
        <p:spPr bwMode="white"/>
        <p:txBody>
          <a:bodyPr/>
          <a:lstStyle>
            <a:lvl1pPr>
              <a:defRPr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idx="1" hasCustomPrompt="1"/>
          </p:nvPr>
        </p:nvSpPr>
        <p:spPr bwMode="white"/>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9" name="Date Placeholder 2" hidden="1">
            <a:extLst>
              <a:ext uri="{FF2B5EF4-FFF2-40B4-BE49-F238E27FC236}">
                <a16:creationId xmlns:a16="http://schemas.microsoft.com/office/drawing/2014/main" id="{DC622279-009F-442C-8DD7-218016BB65E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4B42D78F-92CB-4EB4-8244-D20D9B2E7AD4}"/>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3" name="Pladsholder til slidenummer 5">
            <a:extLst>
              <a:ext uri="{FF2B5EF4-FFF2-40B4-BE49-F238E27FC236}">
                <a16:creationId xmlns:a16="http://schemas.microsoft.com/office/drawing/2014/main" id="{339350AF-31DB-46C2-8E60-74C10E8EA2F6}"/>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E8E8B7C1-A80F-4E2C-A1C5-ACDFC204870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4194200210"/>
      </p:ext>
    </p:extLst>
  </p:cSld>
  <p:clrMapOvr>
    <a:overrideClrMapping bg1="dk1" tx1="lt1" bg2="dk2" tx2="lt2" accent1="accent1" accent2="accent2" accent3="accent3" accent4="accent4" accent5="accent5" accent6="accent6" hlink="hlink" folHlink="folHlink"/>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reserve="1">
  <p:cSld name="Indhold_C_Lilla">
    <p:spTree>
      <p:nvGrpSpPr>
        <p:cNvPr id="1" name=""/>
        <p:cNvGrpSpPr/>
        <p:nvPr/>
      </p:nvGrpSpPr>
      <p:grpSpPr>
        <a:xfrm>
          <a:off x="0" y="0"/>
          <a:ext cx="0" cy="0"/>
          <a:chOff x="0" y="0"/>
          <a:chExt cx="0" cy="0"/>
        </a:xfrm>
      </p:grpSpPr>
      <p:pic>
        <p:nvPicPr>
          <p:cNvPr id="12" name="Billede 11" descr="Et billede, der indeholder tekst, Parallel, linje/række, skærmbillede&#10;&#10;Automatisk genereret beskrivelse">
            <a:extLst>
              <a:ext uri="{FF2B5EF4-FFF2-40B4-BE49-F238E27FC236}">
                <a16:creationId xmlns:a16="http://schemas.microsoft.com/office/drawing/2014/main" id="{49789197-A47D-4396-A4B5-BE7221ABCA3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9" name="Outline background">
            <a:extLst>
              <a:ext uri="{FF2B5EF4-FFF2-40B4-BE49-F238E27FC236}">
                <a16:creationId xmlns:a16="http://schemas.microsoft.com/office/drawing/2014/main" id="{5DF09DCD-B982-48DF-B66A-791E378DACAC}"/>
              </a:ext>
            </a:extLst>
          </p:cNvPr>
          <p:cNvSpPr/>
          <p:nvPr userDrawn="1"/>
        </p:nvSpPr>
        <p:spPr>
          <a:xfrm>
            <a:off x="180000" y="180000"/>
            <a:ext cx="11832120" cy="6498000"/>
          </a:xfrm>
          <a:prstGeom prst="rect">
            <a:avLst/>
          </a:prstGeom>
          <a:no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 name="Title 1"/>
          <p:cNvSpPr>
            <a:spLocks noGrp="1"/>
          </p:cNvSpPr>
          <p:nvPr>
            <p:ph type="title" hasCustomPrompt="1"/>
          </p:nvPr>
        </p:nvSpPr>
        <p:spPr>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3" name="Content Placeholder 2"/>
          <p:cNvSpPr>
            <a:spLocks noGrp="1"/>
          </p:cNvSpPr>
          <p:nvPr>
            <p:ph idx="1"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0" name="Date Placeholder 2" hidden="1">
            <a:extLst>
              <a:ext uri="{FF2B5EF4-FFF2-40B4-BE49-F238E27FC236}">
                <a16:creationId xmlns:a16="http://schemas.microsoft.com/office/drawing/2014/main" id="{9FF420AD-0846-4603-9333-CEB23E7892D3}"/>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1" name="Footer Placeholder 3" hidden="1">
            <a:extLst>
              <a:ext uri="{FF2B5EF4-FFF2-40B4-BE49-F238E27FC236}">
                <a16:creationId xmlns:a16="http://schemas.microsoft.com/office/drawing/2014/main" id="{D33A5EB4-30CE-43C1-8F88-628631D1895C}"/>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5" name="Pladsholder til slidenummer 5">
            <a:extLst>
              <a:ext uri="{FF2B5EF4-FFF2-40B4-BE49-F238E27FC236}">
                <a16:creationId xmlns:a16="http://schemas.microsoft.com/office/drawing/2014/main" id="{BB294EA6-133B-4EE2-A8ED-15166AC96694}"/>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3" name="Billede 12">
            <a:extLst>
              <a:ext uri="{FF2B5EF4-FFF2-40B4-BE49-F238E27FC236}">
                <a16:creationId xmlns:a16="http://schemas.microsoft.com/office/drawing/2014/main" id="{AF097336-6472-427B-961B-659B2567A6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266333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816566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Indhold_D_Lyseblå">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Parallel, mønster, linje/række, stof&#10;&#10;Automatisk genereret beskrivelse">
            <a:extLst>
              <a:ext uri="{FF2B5EF4-FFF2-40B4-BE49-F238E27FC236}">
                <a16:creationId xmlns:a16="http://schemas.microsoft.com/office/drawing/2014/main" id="{2F42C4C6-526C-4884-ABA6-9C3B0135F3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557F21E5-A121-4017-BF81-F9BB857EC35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116146299"/>
      </p:ext>
    </p:extLst>
  </p:cSld>
  <p:clrMapOvr>
    <a:overrideClrMapping bg1="dk1" tx1="lt1" bg2="dk2" tx2="lt2" accent1="accent1" accent2="accent2" accent3="accent3" accent4="accent4" accent5="accent5" accent6="accent6" hlink="hlink" folHlink="folHlink"/>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Indhold_E_Lysegrøn">
    <p:bg>
      <p:bgPr>
        <a:solidFill>
          <a:schemeClr val="tx1"/>
        </a:solidFill>
        <a:effectLst/>
      </p:bgPr>
    </p:bg>
    <p:spTree>
      <p:nvGrpSpPr>
        <p:cNvPr id="1" name=""/>
        <p:cNvGrpSpPr/>
        <p:nvPr/>
      </p:nvGrpSpPr>
      <p:grpSpPr>
        <a:xfrm>
          <a:off x="0" y="0"/>
          <a:ext cx="0" cy="0"/>
          <a:chOff x="0" y="0"/>
          <a:chExt cx="0" cy="0"/>
        </a:xfrm>
      </p:grpSpPr>
      <p:pic>
        <p:nvPicPr>
          <p:cNvPr id="13" name="Billede 12" descr="Et billede, der indeholder grøn, Farverigt, mønster, Rektangel&#10;&#10;Automatisk genereret beskrivelse">
            <a:extLst>
              <a:ext uri="{FF2B5EF4-FFF2-40B4-BE49-F238E27FC236}">
                <a16:creationId xmlns:a16="http://schemas.microsoft.com/office/drawing/2014/main" id="{7DC3D054-B687-4DDE-A373-F9F449E869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3670FC74-1A71-4A68-97AA-80C10CEFD52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2641208992"/>
      </p:ext>
    </p:extLst>
  </p:cSld>
  <p:clrMapOvr>
    <a:overrideClrMapping bg1="dk1" tx1="lt1" bg2="dk2" tx2="lt2" accent1="accent1" accent2="accent2" accent3="accent3" accent4="accent4" accent5="accent5" accent6="accent6" hlink="hlink" folHlink="folHlink"/>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Indhold_F_Gul">
    <p:bg>
      <p:bgPr>
        <a:solidFill>
          <a:schemeClr val="tx1"/>
        </a:solidFill>
        <a:effectLst/>
      </p:bgPr>
    </p:bg>
    <p:spTree>
      <p:nvGrpSpPr>
        <p:cNvPr id="1" name=""/>
        <p:cNvGrpSpPr/>
        <p:nvPr/>
      </p:nvGrpSpPr>
      <p:grpSpPr>
        <a:xfrm>
          <a:off x="0" y="0"/>
          <a:ext cx="0" cy="0"/>
          <a:chOff x="0" y="0"/>
          <a:chExt cx="0" cy="0"/>
        </a:xfrm>
      </p:grpSpPr>
      <p:pic>
        <p:nvPicPr>
          <p:cNvPr id="3" name="Billede 2" descr="Et billede, der indeholder Beige, mønster, gul, Parallel&#10;&#10;Automatisk genereret beskrivelse">
            <a:extLst>
              <a:ext uri="{FF2B5EF4-FFF2-40B4-BE49-F238E27FC236}">
                <a16:creationId xmlns:a16="http://schemas.microsoft.com/office/drawing/2014/main" id="{11330843-AC56-471D-B4EB-8EA6C13D120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5" name="Title 1">
            <a:extLst>
              <a:ext uri="{FF2B5EF4-FFF2-40B4-BE49-F238E27FC236}">
                <a16:creationId xmlns:a16="http://schemas.microsoft.com/office/drawing/2014/main" id="{2AC6FB1C-8112-E544-A2F0-D36A3F02D38E}"/>
              </a:ext>
            </a:extLst>
          </p:cNvPr>
          <p:cNvSpPr>
            <a:spLocks noGrp="1"/>
          </p:cNvSpPr>
          <p:nvPr>
            <p:ph type="title" hasCustomPrompt="1"/>
          </p:nvPr>
        </p:nvSpPr>
        <p:spPr bwMode="white">
          <a:xfrm>
            <a:off x="630000" y="360000"/>
            <a:ext cx="10932120" cy="900000"/>
          </a:xfrm>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noProof="0" dirty="0"/>
              <a:t>Klik for at tilføje titel i maks. to linjer</a:t>
            </a:r>
          </a:p>
        </p:txBody>
      </p:sp>
      <p:sp>
        <p:nvSpPr>
          <p:cNvPr id="6" name="Content Placeholder 2">
            <a:extLst>
              <a:ext uri="{FF2B5EF4-FFF2-40B4-BE49-F238E27FC236}">
                <a16:creationId xmlns:a16="http://schemas.microsoft.com/office/drawing/2014/main" id="{44F868BE-81BE-9C44-9F2B-9C46D16C3CA7}"/>
              </a:ext>
            </a:extLst>
          </p:cNvPr>
          <p:cNvSpPr>
            <a:spLocks noGrp="1"/>
          </p:cNvSpPr>
          <p:nvPr>
            <p:ph idx="1" hasCustomPrompt="1"/>
          </p:nvPr>
        </p:nvSpPr>
        <p:spPr bwMode="white">
          <a:xfrm>
            <a:off x="630000" y="1440000"/>
            <a:ext cx="1093212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da-DK" noProof="0" dirty="0"/>
              <a:t>Klik for at tilføje tekst                                                                                                                   Enter+TAB for at se næste tekstformat                                                                                     SHIFT+TAB for at se foregående tekstformat</a:t>
            </a:r>
          </a:p>
          <a:p>
            <a:pPr lvl="1"/>
            <a:r>
              <a:rPr lang="da-DK" noProof="0" dirty="0"/>
              <a:t>Andet niveau</a:t>
            </a:r>
          </a:p>
          <a:p>
            <a:pPr lvl="2"/>
            <a:r>
              <a:rPr lang="da-DK" noProof="0" dirty="0"/>
              <a:t>Tredje niveau</a:t>
            </a:r>
          </a:p>
          <a:p>
            <a:pPr lvl="3"/>
            <a:r>
              <a:rPr lang="da-DK" noProof="0" dirty="0"/>
              <a:t>Fjerde niveau</a:t>
            </a:r>
          </a:p>
          <a:p>
            <a:pPr lvl="4"/>
            <a:r>
              <a:rPr lang="da-DK" noProof="0" dirty="0"/>
              <a:t>Femte niveau</a:t>
            </a:r>
          </a:p>
        </p:txBody>
      </p:sp>
      <p:sp>
        <p:nvSpPr>
          <p:cNvPr id="11" name="Date Placeholder 2" hidden="1">
            <a:extLst>
              <a:ext uri="{FF2B5EF4-FFF2-40B4-BE49-F238E27FC236}">
                <a16:creationId xmlns:a16="http://schemas.microsoft.com/office/drawing/2014/main" id="{22349086-C33D-43D6-8D4A-8947CE61EDE0}"/>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086768D1-DFF8-406D-8CEF-3A6219441582}"/>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018C4608-862B-456C-8B53-BFA8C22E25EA}"/>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9" name="Billede 8">
            <a:extLst>
              <a:ext uri="{FF2B5EF4-FFF2-40B4-BE49-F238E27FC236}">
                <a16:creationId xmlns:a16="http://schemas.microsoft.com/office/drawing/2014/main" id="{65A58B9F-0159-44DC-A4A1-5500A1B161F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014900128"/>
      </p:ext>
    </p:extLst>
  </p:cSld>
  <p:clrMapOvr>
    <a:overrideClrMapping bg1="dk1" tx1="lt1" bg2="dk2" tx2="lt2" accent1="accent1" accent2="accent2" accent3="accent3" accent4="accent4" accent5="accent5" accent6="accent6" hlink="hlink" folHlink="folHlink"/>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Indhold_2_B_Rød">
    <p:spTree>
      <p:nvGrpSpPr>
        <p:cNvPr id="1" name=""/>
        <p:cNvGrpSpPr/>
        <p:nvPr/>
      </p:nvGrpSpPr>
      <p:grpSpPr>
        <a:xfrm>
          <a:off x="0" y="0"/>
          <a:ext cx="0" cy="0"/>
          <a:chOff x="0" y="0"/>
          <a:chExt cx="0" cy="0"/>
        </a:xfrm>
      </p:grpSpPr>
      <p:pic>
        <p:nvPicPr>
          <p:cNvPr id="14" name="Billede 13" descr="Et billede, der indeholder mønster, rød, tøj, Rødbrun&#10;&#10;Automatisk genereret beskrivelse">
            <a:extLst>
              <a:ext uri="{FF2B5EF4-FFF2-40B4-BE49-F238E27FC236}">
                <a16:creationId xmlns:a16="http://schemas.microsoft.com/office/drawing/2014/main" id="{D534BCB3-A2EE-407D-ACCA-9031C29DCB7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6" name="Content Placeholder 2">
            <a:extLst>
              <a:ext uri="{FF2B5EF4-FFF2-40B4-BE49-F238E27FC236}">
                <a16:creationId xmlns:a16="http://schemas.microsoft.com/office/drawing/2014/main" id="{A135016B-82B3-3844-ACBB-732D4AFDA346}"/>
              </a:ext>
            </a:extLst>
          </p:cNvPr>
          <p:cNvSpPr>
            <a:spLocks noGrp="1"/>
          </p:cNvSpPr>
          <p:nvPr>
            <p:ph sz="half" idx="1" hasCustomPrompt="1"/>
          </p:nvPr>
        </p:nvSpPr>
        <p:spPr>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Content Placeholder 3">
            <a:extLst>
              <a:ext uri="{FF2B5EF4-FFF2-40B4-BE49-F238E27FC236}">
                <a16:creationId xmlns:a16="http://schemas.microsoft.com/office/drawing/2014/main" id="{A376506C-C561-2843-B748-BD8AD9BEFA28}"/>
              </a:ext>
            </a:extLst>
          </p:cNvPr>
          <p:cNvSpPr>
            <a:spLocks noGrp="1"/>
          </p:cNvSpPr>
          <p:nvPr>
            <p:ph sz="half" idx="2" hasCustomPrompt="1"/>
          </p:nvPr>
        </p:nvSpPr>
        <p:spPr>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 name="Titel 1">
            <a:extLst>
              <a:ext uri="{FF2B5EF4-FFF2-40B4-BE49-F238E27FC236}">
                <a16:creationId xmlns:a16="http://schemas.microsoft.com/office/drawing/2014/main" id="{2BF6C501-A506-9F4C-AF74-4B60F9FD1F98}"/>
              </a:ext>
            </a:extLst>
          </p:cNvPr>
          <p:cNvSpPr>
            <a:spLocks noGrp="1"/>
          </p:cNvSpPr>
          <p:nvPr>
            <p:ph type="title" hasCustomPrompt="1"/>
          </p:nvPr>
        </p:nvSpPr>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11" name="Date Placeholder 2" hidden="1">
            <a:extLst>
              <a:ext uri="{FF2B5EF4-FFF2-40B4-BE49-F238E27FC236}">
                <a16:creationId xmlns:a16="http://schemas.microsoft.com/office/drawing/2014/main" id="{86AA9FF4-7F81-428B-A083-62D7ABC33471}"/>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3" name="Footer Placeholder 3" hidden="1">
            <a:extLst>
              <a:ext uri="{FF2B5EF4-FFF2-40B4-BE49-F238E27FC236}">
                <a16:creationId xmlns:a16="http://schemas.microsoft.com/office/drawing/2014/main" id="{9942CE6C-210E-4A46-9B93-F9ED221D8A0C}"/>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2" name="Pladsholder til slidenummer 5">
            <a:extLst>
              <a:ext uri="{FF2B5EF4-FFF2-40B4-BE49-F238E27FC236}">
                <a16:creationId xmlns:a16="http://schemas.microsoft.com/office/drawing/2014/main" id="{2ECE138F-BDB5-4323-A483-6BC099F6EB54}"/>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descr="Et billede, der indeholder Font/skrifttype, tekst, Grafik, logo&#10;&#10;Automatisk genereret beskrivelse">
            <a:extLst>
              <a:ext uri="{FF2B5EF4-FFF2-40B4-BE49-F238E27FC236}">
                <a16:creationId xmlns:a16="http://schemas.microsoft.com/office/drawing/2014/main" id="{BAF39208-6F0D-4074-9263-0E767FC1D0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9707" cy="450000"/>
          </a:xfrm>
          <a:prstGeom prst="rect">
            <a:avLst/>
          </a:prstGeom>
        </p:spPr>
      </p:pic>
    </p:spTree>
    <p:extLst>
      <p:ext uri="{BB962C8B-B14F-4D97-AF65-F5344CB8AC3E}">
        <p14:creationId xmlns:p14="http://schemas.microsoft.com/office/powerpoint/2010/main" val="27327878"/>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type="twoObj" preserve="1">
  <p:cSld name="Indhold_2_A_Hvid">
    <p:bg>
      <p:bgPr>
        <a:solidFill>
          <a:schemeClr val="tx1"/>
        </a:solidFill>
        <a:effectLst/>
      </p:bgPr>
    </p:bg>
    <p:spTree>
      <p:nvGrpSpPr>
        <p:cNvPr id="1" name=""/>
        <p:cNvGrpSpPr/>
        <p:nvPr/>
      </p:nvGrpSpPr>
      <p:grpSpPr>
        <a:xfrm>
          <a:off x="0" y="0"/>
          <a:ext cx="0" cy="0"/>
          <a:chOff x="0" y="0"/>
          <a:chExt cx="0" cy="0"/>
        </a:xfrm>
      </p:grpSpPr>
      <p:pic>
        <p:nvPicPr>
          <p:cNvPr id="13" name="Billede 12" descr="Et billede, der indeholder Parallel, linje/række, hvid&#10;&#10;Automatisk genereret beskrivelse">
            <a:extLst>
              <a:ext uri="{FF2B5EF4-FFF2-40B4-BE49-F238E27FC236}">
                <a16:creationId xmlns:a16="http://schemas.microsoft.com/office/drawing/2014/main" id="{14755913-7009-45C3-8137-B8EC333E11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bwMode="white"/>
        <p:txBody>
          <a:bodyPr/>
          <a:lstStyle>
            <a:lvl1pPr>
              <a:defRPr baseline="0">
                <a:solidFill>
                  <a:srgbClr val="C31414"/>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bwMode="white">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bwMode="white">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Date Placeholder 2" hidden="1">
            <a:extLst>
              <a:ext uri="{FF2B5EF4-FFF2-40B4-BE49-F238E27FC236}">
                <a16:creationId xmlns:a16="http://schemas.microsoft.com/office/drawing/2014/main" id="{AD9C194F-C804-4FE5-B2CB-D8089921446B}"/>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0" name="Footer Placeholder 3" hidden="1">
            <a:extLst>
              <a:ext uri="{FF2B5EF4-FFF2-40B4-BE49-F238E27FC236}">
                <a16:creationId xmlns:a16="http://schemas.microsoft.com/office/drawing/2014/main" id="{83ABF68F-3227-4B8D-A008-575879362DA0}"/>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2" name="Pladsholder til slidenummer 5">
            <a:extLst>
              <a:ext uri="{FF2B5EF4-FFF2-40B4-BE49-F238E27FC236}">
                <a16:creationId xmlns:a16="http://schemas.microsoft.com/office/drawing/2014/main" id="{C5E14070-1682-4FCB-93CC-7D79C0F455EB}"/>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1" name="Billede 10">
            <a:extLst>
              <a:ext uri="{FF2B5EF4-FFF2-40B4-BE49-F238E27FC236}">
                <a16:creationId xmlns:a16="http://schemas.microsoft.com/office/drawing/2014/main" id="{9CB704C2-77D0-4835-88D8-308ECAE63F4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164619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918">
          <p15:clr>
            <a:srgbClr val="FBAE40"/>
          </p15:clr>
        </p15:guide>
        <p15:guide id="2" pos="3759">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Indhold_2_C_Lilla">
    <p:spTree>
      <p:nvGrpSpPr>
        <p:cNvPr id="1" name=""/>
        <p:cNvGrpSpPr/>
        <p:nvPr/>
      </p:nvGrpSpPr>
      <p:grpSpPr>
        <a:xfrm>
          <a:off x="0" y="0"/>
          <a:ext cx="0" cy="0"/>
          <a:chOff x="0" y="0"/>
          <a:chExt cx="0" cy="0"/>
        </a:xfrm>
      </p:grpSpPr>
      <p:pic>
        <p:nvPicPr>
          <p:cNvPr id="13" name="Billede 12" descr="Et billede, der indeholder tekst, Parallel, linje/række, skærmbillede&#10;&#10;Automatisk genereret beskrivelse">
            <a:extLst>
              <a:ext uri="{FF2B5EF4-FFF2-40B4-BE49-F238E27FC236}">
                <a16:creationId xmlns:a16="http://schemas.microsoft.com/office/drawing/2014/main" id="{09B9FE30-B88F-44FE-BC53-AEFC1E5021E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D7E7312A-889C-494E-8278-5A6B3B64F5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070410033"/>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Indhold_2_D_Lyseblå">
    <p:spTree>
      <p:nvGrpSpPr>
        <p:cNvPr id="1" name=""/>
        <p:cNvGrpSpPr/>
        <p:nvPr/>
      </p:nvGrpSpPr>
      <p:grpSpPr>
        <a:xfrm>
          <a:off x="0" y="0"/>
          <a:ext cx="0" cy="0"/>
          <a:chOff x="0" y="0"/>
          <a:chExt cx="0" cy="0"/>
        </a:xfrm>
      </p:grpSpPr>
      <p:pic>
        <p:nvPicPr>
          <p:cNvPr id="15" name="Billede 14" descr="Et billede, der indeholder Parallel, mønster, linje/række, stof&#10;&#10;Automatisk genereret beskrivelse">
            <a:extLst>
              <a:ext uri="{FF2B5EF4-FFF2-40B4-BE49-F238E27FC236}">
                <a16:creationId xmlns:a16="http://schemas.microsoft.com/office/drawing/2014/main" id="{9E049730-8576-443C-BA66-BF247B693DA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68E1EFBA-714E-43E6-8330-87211CA189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1172337542"/>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Indhold_2_E_Lysegrøn">
    <p:spTree>
      <p:nvGrpSpPr>
        <p:cNvPr id="1" name=""/>
        <p:cNvGrpSpPr/>
        <p:nvPr/>
      </p:nvGrpSpPr>
      <p:grpSpPr>
        <a:xfrm>
          <a:off x="0" y="0"/>
          <a:ext cx="0" cy="0"/>
          <a:chOff x="0" y="0"/>
          <a:chExt cx="0" cy="0"/>
        </a:xfrm>
      </p:grpSpPr>
      <p:pic>
        <p:nvPicPr>
          <p:cNvPr id="15" name="Billede 14" descr="Et billede, der indeholder grøn, Farverigt, mønster, Rektangel&#10;&#10;Automatisk genereret beskrivelse">
            <a:extLst>
              <a:ext uri="{FF2B5EF4-FFF2-40B4-BE49-F238E27FC236}">
                <a16:creationId xmlns:a16="http://schemas.microsoft.com/office/drawing/2014/main" id="{D31CA2A9-8D88-4C4D-B856-17BC0131EDF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8573EBC2-F57C-45C8-972C-8B25FF2F098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676147087"/>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Indhold_2_F_Gul">
    <p:spTree>
      <p:nvGrpSpPr>
        <p:cNvPr id="1" name=""/>
        <p:cNvGrpSpPr/>
        <p:nvPr/>
      </p:nvGrpSpPr>
      <p:grpSpPr>
        <a:xfrm>
          <a:off x="0" y="0"/>
          <a:ext cx="0" cy="0"/>
          <a:chOff x="0" y="0"/>
          <a:chExt cx="0" cy="0"/>
        </a:xfrm>
      </p:grpSpPr>
      <p:pic>
        <p:nvPicPr>
          <p:cNvPr id="13" name="Billede 12" descr="Et billede, der indeholder Beige, mønster, gul, Parallel&#10;&#10;Automatisk genereret beskrivelse">
            <a:extLst>
              <a:ext uri="{FF2B5EF4-FFF2-40B4-BE49-F238E27FC236}">
                <a16:creationId xmlns:a16="http://schemas.microsoft.com/office/drawing/2014/main" id="{4D351E83-D863-4DA8-AD45-9C153B1943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999" cy="6858000"/>
          </a:xfrm>
          <a:prstGeom prst="rect">
            <a:avLst/>
          </a:prstGeom>
        </p:spPr>
      </p:pic>
      <p:sp>
        <p:nvSpPr>
          <p:cNvPr id="2" name="Title 1"/>
          <p:cNvSpPr>
            <a:spLocks noGrp="1"/>
          </p:cNvSpPr>
          <p:nvPr>
            <p:ph type="title" hasCustomPrompt="1"/>
          </p:nvPr>
        </p:nvSpPr>
        <p:spPr/>
        <p:txBody>
          <a:bodyPr/>
          <a:lstStyle>
            <a:lvl1pPr>
              <a:defRPr>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 i maks. to linjer</a:t>
            </a:r>
          </a:p>
        </p:txBody>
      </p:sp>
      <p:sp>
        <p:nvSpPr>
          <p:cNvPr id="3" name="Content Placeholder 2"/>
          <p:cNvSpPr>
            <a:spLocks noGrp="1"/>
          </p:cNvSpPr>
          <p:nvPr>
            <p:ph sz="half" idx="1" hasCustomPrompt="1"/>
          </p:nvPr>
        </p:nvSpPr>
        <p:spPr>
          <a:xfrm>
            <a:off x="630000"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223321" y="1440000"/>
            <a:ext cx="5338800" cy="45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Date Placeholder 2" hidden="1">
            <a:extLst>
              <a:ext uri="{FF2B5EF4-FFF2-40B4-BE49-F238E27FC236}">
                <a16:creationId xmlns:a16="http://schemas.microsoft.com/office/drawing/2014/main" id="{8F0C99F1-9881-443A-8648-CCD803E1A2BC}"/>
              </a:ext>
            </a:extLst>
          </p:cNvPr>
          <p:cNvSpPr>
            <a:spLocks noGrp="1"/>
          </p:cNvSpPr>
          <p:nvPr>
            <p:ph type="dt" sz="half" idx="11"/>
          </p:nvPr>
        </p:nvSpPr>
        <p:spPr>
          <a:xfrm>
            <a:off x="0" y="6858000"/>
            <a:ext cx="0" cy="0"/>
          </a:xfrm>
          <a:prstGeom prst="rect">
            <a:avLst/>
          </a:prstGeom>
        </p:spPr>
        <p:txBody>
          <a:bodyPr/>
          <a:lstStyle>
            <a:lvl1pPr>
              <a:defRPr>
                <a:noFill/>
              </a:defRPr>
            </a:lvl1pPr>
          </a:lstStyle>
          <a:p>
            <a:endParaRPr lang="da-DK" dirty="0"/>
          </a:p>
        </p:txBody>
      </p:sp>
      <p:sp>
        <p:nvSpPr>
          <p:cNvPr id="12" name="Footer Placeholder 3" hidden="1">
            <a:extLst>
              <a:ext uri="{FF2B5EF4-FFF2-40B4-BE49-F238E27FC236}">
                <a16:creationId xmlns:a16="http://schemas.microsoft.com/office/drawing/2014/main" id="{3D5B9939-D3DA-4438-9321-EB5D4F9B6BD1}"/>
              </a:ext>
            </a:extLst>
          </p:cNvPr>
          <p:cNvSpPr>
            <a:spLocks noGrp="1"/>
          </p:cNvSpPr>
          <p:nvPr>
            <p:ph type="ftr" sz="quarter" idx="12"/>
          </p:nvPr>
        </p:nvSpPr>
        <p:spPr>
          <a:xfrm>
            <a:off x="0" y="6858000"/>
            <a:ext cx="0" cy="0"/>
          </a:xfrm>
          <a:prstGeom prst="rect">
            <a:avLst/>
          </a:prstGeom>
        </p:spPr>
        <p:txBody>
          <a:bodyPr/>
          <a:lstStyle>
            <a:lvl1pPr>
              <a:defRPr>
                <a:noFill/>
              </a:defRPr>
            </a:lvl1pPr>
          </a:lstStyle>
          <a:p>
            <a:endParaRPr lang="da-DK" dirty="0"/>
          </a:p>
        </p:txBody>
      </p:sp>
      <p:sp>
        <p:nvSpPr>
          <p:cNvPr id="14" name="Pladsholder til slidenummer 5">
            <a:extLst>
              <a:ext uri="{FF2B5EF4-FFF2-40B4-BE49-F238E27FC236}">
                <a16:creationId xmlns:a16="http://schemas.microsoft.com/office/drawing/2014/main" id="{2A4C1B7F-9797-4778-A0BA-A976190410AC}"/>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pic>
        <p:nvPicPr>
          <p:cNvPr id="10" name="Billede 9">
            <a:extLst>
              <a:ext uri="{FF2B5EF4-FFF2-40B4-BE49-F238E27FC236}">
                <a16:creationId xmlns:a16="http://schemas.microsoft.com/office/drawing/2014/main" id="{225EBB68-C5C5-46FC-B5EE-910FCB439C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Tree>
    <p:extLst>
      <p:ext uri="{BB962C8B-B14F-4D97-AF65-F5344CB8AC3E}">
        <p14:creationId xmlns:p14="http://schemas.microsoft.com/office/powerpoint/2010/main" val="3937442077"/>
      </p:ext>
    </p:extLst>
  </p:cSld>
  <p:clrMapOvr>
    <a:masterClrMapping/>
  </p:clrMapOvr>
  <p:extLst>
    <p:ext uri="{DCECCB84-F9BA-43D5-87BE-67443E8EF086}">
      <p15:sldGuideLst xmlns:p15="http://schemas.microsoft.com/office/powerpoint/2012/main">
        <p15:guide id="1" pos="3761">
          <p15:clr>
            <a:srgbClr val="FBAE40"/>
          </p15:clr>
        </p15:guide>
        <p15:guide id="2" pos="392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Indhold_3_A_Rød">
    <p:bg>
      <p:bgPr>
        <a:solidFill>
          <a:srgbClr val="F2F2F2"/>
        </a:solidFill>
        <a:effectLst/>
      </p:bgPr>
    </p:bg>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5381469" y="509666"/>
            <a:ext cx="6180652" cy="590612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5" name="Billede 4">
            <a:extLst>
              <a:ext uri="{FF2B5EF4-FFF2-40B4-BE49-F238E27FC236}">
                <a16:creationId xmlns:a16="http://schemas.microsoft.com/office/drawing/2014/main" id="{E9EDE85B-E137-46E1-A6EB-64A2792A8B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4819338" cy="6858000"/>
          </a:xfrm>
          <a:prstGeom prst="homePlate">
            <a:avLst>
              <a:gd name="adj" fmla="val 12747"/>
            </a:avLst>
          </a:prstGeom>
        </p:spPr>
      </p:pic>
      <p:sp>
        <p:nvSpPr>
          <p:cNvPr id="7" name="Title 1">
            <a:extLst>
              <a:ext uri="{FF2B5EF4-FFF2-40B4-BE49-F238E27FC236}">
                <a16:creationId xmlns:a16="http://schemas.microsoft.com/office/drawing/2014/main" id="{375955E0-A165-4CBF-ABD8-E983950BEF03}"/>
              </a:ext>
            </a:extLst>
          </p:cNvPr>
          <p:cNvSpPr>
            <a:spLocks noGrp="1"/>
          </p:cNvSpPr>
          <p:nvPr>
            <p:ph type="ctrTitle" hasCustomPrompt="1"/>
          </p:nvPr>
        </p:nvSpPr>
        <p:spPr>
          <a:xfrm>
            <a:off x="562131" y="933433"/>
            <a:ext cx="3522689"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03D73919-322D-4B7F-8484-69759EC4F33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
        <p:nvSpPr>
          <p:cNvPr id="10" name="Pladsholder til slidenummer 5">
            <a:extLst>
              <a:ext uri="{FF2B5EF4-FFF2-40B4-BE49-F238E27FC236}">
                <a16:creationId xmlns:a16="http://schemas.microsoft.com/office/drawing/2014/main" id="{00EF1E85-1B6C-4C5F-A1F0-F05CEFAEAE11}"/>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2843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041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Indhold_3_B_Rød">
    <p:bg>
      <p:bgPr>
        <a:solidFill>
          <a:srgbClr val="F2F2F2"/>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E9EDE85B-E137-46E1-A6EB-64A2792A8B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0"/>
            <a:ext cx="4064400" cy="6858000"/>
          </a:xfrm>
          <a:prstGeom prst="homePlate">
            <a:avLst>
              <a:gd name="adj" fmla="val 0"/>
            </a:avLst>
          </a:prstGeom>
        </p:spPr>
      </p:pic>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4534300" y="487180"/>
            <a:ext cx="7027821" cy="596608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le 1">
            <a:extLst>
              <a:ext uri="{FF2B5EF4-FFF2-40B4-BE49-F238E27FC236}">
                <a16:creationId xmlns:a16="http://schemas.microsoft.com/office/drawing/2014/main" id="{A556FBAB-1C02-4BF3-B590-B3816AC8B6B9}"/>
              </a:ext>
            </a:extLst>
          </p:cNvPr>
          <p:cNvSpPr>
            <a:spLocks noGrp="1"/>
          </p:cNvSpPr>
          <p:nvPr>
            <p:ph type="ctrTitle" hasCustomPrompt="1"/>
          </p:nvPr>
        </p:nvSpPr>
        <p:spPr>
          <a:xfrm>
            <a:off x="562131" y="933433"/>
            <a:ext cx="3080479"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F5D529E4-1726-4082-A63A-FB09CEC62ED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
        <p:nvSpPr>
          <p:cNvPr id="9" name="Pladsholder til slidenummer 5">
            <a:extLst>
              <a:ext uri="{FF2B5EF4-FFF2-40B4-BE49-F238E27FC236}">
                <a16:creationId xmlns:a16="http://schemas.microsoft.com/office/drawing/2014/main" id="{D8C308A6-2A4F-449D-A012-55D659F2DC98}"/>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804245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Indhold_3_C_Rød">
    <p:bg>
      <p:bgPr>
        <a:solidFill>
          <a:srgbClr val="F2F2F2"/>
        </a:solidFill>
        <a:effectLst/>
      </p:bgPr>
    </p:bg>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E9EDE85B-E137-46E1-A6EB-64A2792A8B29}"/>
              </a:ext>
            </a:extLst>
          </p:cNvPr>
          <p:cNvPicPr>
            <a:picLocks/>
          </p:cNvPicPr>
          <p:nvPr userDrawn="1"/>
        </p:nvPicPr>
        <p:blipFill>
          <a:blip r:embed="rId2" cstate="screen">
            <a:extLst>
              <a:ext uri="{28A0092B-C50C-407E-A947-70E740481C1C}">
                <a14:useLocalDpi xmlns:a14="http://schemas.microsoft.com/office/drawing/2010/main"/>
              </a:ext>
            </a:extLst>
          </a:blip>
          <a:srcRect/>
          <a:stretch/>
        </p:blipFill>
        <p:spPr>
          <a:xfrm>
            <a:off x="0" y="0"/>
            <a:ext cx="6098400" cy="6858000"/>
          </a:xfrm>
          <a:prstGeom prst="homePlate">
            <a:avLst>
              <a:gd name="adj" fmla="val 0"/>
            </a:avLst>
          </a:prstGeom>
        </p:spPr>
      </p:pic>
      <p:sp>
        <p:nvSpPr>
          <p:cNvPr id="6" name="Content Placeholder 3">
            <a:extLst>
              <a:ext uri="{FF2B5EF4-FFF2-40B4-BE49-F238E27FC236}">
                <a16:creationId xmlns:a16="http://schemas.microsoft.com/office/drawing/2014/main" id="{27C7A317-EBB7-41F4-81C8-4BDEBC22627A}"/>
              </a:ext>
            </a:extLst>
          </p:cNvPr>
          <p:cNvSpPr>
            <a:spLocks noGrp="1"/>
          </p:cNvSpPr>
          <p:nvPr>
            <p:ph sz="half" idx="2" hasCustomPrompt="1"/>
          </p:nvPr>
        </p:nvSpPr>
        <p:spPr bwMode="white">
          <a:xfrm>
            <a:off x="6468255" y="487180"/>
            <a:ext cx="5093865" cy="596608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for at tilføje tekst                       Enter+TAB for at se næste tekstformat SHIFT+TAB for at se foregående tekstforma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Title 1">
            <a:extLst>
              <a:ext uri="{FF2B5EF4-FFF2-40B4-BE49-F238E27FC236}">
                <a16:creationId xmlns:a16="http://schemas.microsoft.com/office/drawing/2014/main" id="{B61D1BF0-0252-4925-88AE-BB61020136CB}"/>
              </a:ext>
            </a:extLst>
          </p:cNvPr>
          <p:cNvSpPr>
            <a:spLocks noGrp="1"/>
          </p:cNvSpPr>
          <p:nvPr>
            <p:ph type="ctrTitle" hasCustomPrompt="1"/>
          </p:nvPr>
        </p:nvSpPr>
        <p:spPr>
          <a:xfrm>
            <a:off x="562130" y="933433"/>
            <a:ext cx="4976735" cy="4991134"/>
          </a:xfrm>
        </p:spPr>
        <p:txBody>
          <a:bodyPr anchor="ctr" anchorCtr="0"/>
          <a:lstStyle>
            <a:lvl1pPr algn="l">
              <a:defRPr sz="3200" cap="none" baseline="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stStyle>
          <a:p>
            <a:r>
              <a:rPr lang="da-DK" dirty="0"/>
              <a:t>Klik for at tilføje titel</a:t>
            </a:r>
          </a:p>
        </p:txBody>
      </p:sp>
      <p:pic>
        <p:nvPicPr>
          <p:cNvPr id="8" name="Billede 7">
            <a:extLst>
              <a:ext uri="{FF2B5EF4-FFF2-40B4-BE49-F238E27FC236}">
                <a16:creationId xmlns:a16="http://schemas.microsoft.com/office/drawing/2014/main" id="{7CC88135-A619-4FBA-B73D-4E7E0E685E5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06000" y="6246000"/>
            <a:ext cx="937318" cy="450000"/>
          </a:xfrm>
          <a:prstGeom prst="rect">
            <a:avLst/>
          </a:prstGeom>
        </p:spPr>
      </p:pic>
      <p:sp>
        <p:nvSpPr>
          <p:cNvPr id="9" name="Pladsholder til slidenummer 5">
            <a:extLst>
              <a:ext uri="{FF2B5EF4-FFF2-40B4-BE49-F238E27FC236}">
                <a16:creationId xmlns:a16="http://schemas.microsoft.com/office/drawing/2014/main" id="{D2092B22-0055-4772-AF11-7704BD040A97}"/>
              </a:ext>
            </a:extLst>
          </p:cNvPr>
          <p:cNvSpPr>
            <a:spLocks noGrp="1"/>
          </p:cNvSpPr>
          <p:nvPr>
            <p:ph type="sldNum" sz="quarter" idx="36"/>
          </p:nvPr>
        </p:nvSpPr>
        <p:spPr bwMode="white">
          <a:xfrm>
            <a:off x="10602000" y="6372000"/>
            <a:ext cx="456000" cy="288000"/>
          </a:xfrm>
        </p:spPr>
        <p:txBody>
          <a:bodyPr/>
          <a:lstStyle>
            <a:lvl1pPr>
              <a:defRPr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747995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Indhold_Billed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Tree>
    <p:extLst>
      <p:ext uri="{BB962C8B-B14F-4D97-AF65-F5344CB8AC3E}">
        <p14:creationId xmlns:p14="http://schemas.microsoft.com/office/powerpoint/2010/main" val="282534724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Indhold_Billede_Rød_bjælke_enk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6012000"/>
            <a:ext cx="12192000" cy="846000"/>
          </a:xfrm>
          <a:blipFill>
            <a:blip r:embed="rId2">
              <a:alphaModFix amt="70000"/>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301762272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Indhold_Billede_Rød_bjælke_dobb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5874843"/>
            <a:ext cx="12193200" cy="1000800"/>
          </a:xfrm>
          <a:blipFill>
            <a:blip r:embed="rId2">
              <a:alphaModFix amt="70000"/>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346337374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Indhold_Media">
    <p:spTree>
      <p:nvGrpSpPr>
        <p:cNvPr id="1" name=""/>
        <p:cNvGrpSpPr/>
        <p:nvPr/>
      </p:nvGrpSpPr>
      <p:grpSpPr>
        <a:xfrm>
          <a:off x="0" y="0"/>
          <a:ext cx="0" cy="0"/>
          <a:chOff x="0" y="0"/>
          <a:chExt cx="0" cy="0"/>
        </a:xfrm>
      </p:grpSpPr>
      <p:sp>
        <p:nvSpPr>
          <p:cNvPr id="3" name="Pladsholder til medieklip 2">
            <a:extLst>
              <a:ext uri="{FF2B5EF4-FFF2-40B4-BE49-F238E27FC236}">
                <a16:creationId xmlns:a16="http://schemas.microsoft.com/office/drawing/2014/main" id="{A6DA04CC-0753-A146-994A-388AEA18FD90}"/>
              </a:ext>
            </a:extLst>
          </p:cNvPr>
          <p:cNvSpPr>
            <a:spLocks noGrp="1"/>
          </p:cNvSpPr>
          <p:nvPr>
            <p:ph type="media" sz="quarter" idx="13"/>
          </p:nvPr>
        </p:nvSpPr>
        <p:spPr>
          <a:xfrm>
            <a:off x="178920" y="180000"/>
            <a:ext cx="11833200" cy="6498000"/>
          </a:xfrm>
        </p:spPr>
        <p:txBody>
          <a:bodyPr/>
          <a:lstStyle>
            <a:lvl1pPr marL="0" indent="0" algn="ctr">
              <a:buNone/>
              <a:defRPr/>
            </a:lvl1pPr>
          </a:lstStyle>
          <a:p>
            <a:r>
              <a:rPr lang="da-DK"/>
              <a:t>Klik på ikonet for at tilføje et medie</a:t>
            </a:r>
            <a:endParaRPr lang="da-DK" dirty="0"/>
          </a:p>
        </p:txBody>
      </p:sp>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57336797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637726" y="448713"/>
            <a:ext cx="11109321"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7" name="Text Box 2">
            <a:extLst>
              <a:ext uri="{FF2B5EF4-FFF2-40B4-BE49-F238E27FC236}">
                <a16:creationId xmlns:a16="http://schemas.microsoft.com/office/drawing/2014/main" id="{1E86B7E7-F87D-4375-BAE3-34A81C5D0F8B}"/>
              </a:ext>
            </a:extLst>
          </p:cNvPr>
          <p:cNvSpPr txBox="1">
            <a:spLocks noChangeArrowheads="1"/>
          </p:cNvSpPr>
          <p:nvPr userDrawn="1"/>
        </p:nvSpPr>
        <p:spPr bwMode="auto">
          <a:xfrm>
            <a:off x="637726" y="1451694"/>
            <a:ext cx="2448910"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chemeClr val="tx1"/>
                </a:solidFill>
                <a:latin typeface="+mn-lt"/>
                <a:cs typeface="Arial" panose="020B0604020202020204" pitchFamily="34" charset="0"/>
              </a:rPr>
            </a:br>
            <a:r>
              <a:rPr lang="da-DK" sz="1600" dirty="0">
                <a:latin typeface="+mn-lt"/>
                <a:cs typeface="Arial" panose="020B0604020202020204" pitchFamily="34" charset="0"/>
              </a:rPr>
              <a:t>SLIDES &amp; LAYOUTS</a:t>
            </a:r>
            <a:br>
              <a:rPr lang="da-DK" altLang="da-DK" sz="1600" b="1" noProof="1">
                <a:solidFill>
                  <a:schemeClr val="tx1"/>
                </a:solidFill>
                <a:latin typeface="+mn-lt"/>
                <a:cs typeface="Arial" panose="020B0604020202020204" pitchFamily="34" charset="0"/>
              </a:rPr>
            </a:br>
            <a:br>
              <a:rPr lang="da-DK" altLang="da-DK" sz="900" b="1"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 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 layout</a:t>
            </a:r>
            <a:endParaRPr lang="da-DK" altLang="da-DK" sz="900" b="0" noProof="1">
              <a:solidFill>
                <a:schemeClr val="tx1"/>
              </a:solidFill>
              <a:latin typeface="+mn-lt"/>
              <a:cs typeface="Arial" panose="020B0604020202020204" pitchFamily="34" charset="0"/>
            </a:endParaRPr>
          </a:p>
        </p:txBody>
      </p:sp>
      <p:sp>
        <p:nvSpPr>
          <p:cNvPr id="28"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4498493" y="1451694"/>
            <a:ext cx="2448911"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på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knappen</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endParaRPr lang="da-DK" sz="900" b="1"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dirty="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På slides med billedpladshold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ikonet og vælg </a:t>
            </a:r>
            <a:r>
              <a:rPr lang="da-DK" altLang="da-DK" sz="900" b="1" noProof="1">
                <a:solidFill>
                  <a:schemeClr val="tx1"/>
                </a:solidFill>
                <a:latin typeface="+mn-lt"/>
                <a:cs typeface="Arial" panose="020B0604020202020204" pitchFamily="34" charset="0"/>
              </a:rPr>
              <a:t>Indsæt </a:t>
            </a:r>
            <a:r>
              <a:rPr lang="da-DK" altLang="da-DK" sz="900" b="0" noProof="1">
                <a:solidFill>
                  <a:schemeClr val="tx1"/>
                </a:solidFill>
                <a:latin typeface="+mn-lt"/>
                <a:cs typeface="Arial" panose="020B0604020202020204" pitchFamily="34" charset="0"/>
              </a:rPr>
              <a:t>for at søge efter billede</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p>
          <a:p>
            <a:pPr eaLnBrk="1" hangingPunct="1">
              <a:spcAft>
                <a:spcPts val="600"/>
              </a:spcAft>
              <a:defRPr/>
            </a:pPr>
            <a:endParaRPr lang="da-DK" altLang="da-DK" sz="900" b="1" noProof="1">
              <a:solidFill>
                <a:schemeClr val="tx1"/>
              </a:solidFill>
              <a:latin typeface="+mn-lt"/>
              <a:cs typeface="Arial" panose="020B0604020202020204" pitchFamily="34" charset="0"/>
            </a:endParaRPr>
          </a:p>
        </p:txBody>
      </p:sp>
      <p:sp>
        <p:nvSpPr>
          <p:cNvPr id="30" name="Text Box 4">
            <a:extLst>
              <a:ext uri="{FF2B5EF4-FFF2-40B4-BE49-F238E27FC236}">
                <a16:creationId xmlns:a16="http://schemas.microsoft.com/office/drawing/2014/main" id="{460FBAEE-DC7E-44A6-BEA8-1DCAE4DE7726}"/>
              </a:ext>
            </a:extLst>
          </p:cNvPr>
          <p:cNvSpPr txBox="1">
            <a:spLocks noChangeArrowheads="1"/>
          </p:cNvSpPr>
          <p:nvPr userDrawn="1"/>
        </p:nvSpPr>
        <p:spPr bwMode="auto">
          <a:xfrm>
            <a:off x="8359261" y="1451694"/>
            <a:ext cx="2448911"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600" dirty="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Mac: </a:t>
            </a:r>
            <a:r>
              <a:rPr lang="da-DK" sz="900" b="0" i="0" dirty="0">
                <a:solidFill>
                  <a:srgbClr val="333333"/>
                </a:solidFill>
                <a:effectLst/>
                <a:latin typeface="Arial"/>
              </a:rPr>
              <a:t>⌘ </a:t>
            </a:r>
            <a:r>
              <a:rPr lang="da-DK" altLang="da-DK" sz="900" b="0" noProof="1">
                <a:solidFill>
                  <a:schemeClr val="tx1"/>
                </a:solidFill>
                <a:latin typeface="+mn-lt"/>
                <a:cs typeface="Arial" panose="020B0604020202020204" pitchFamily="34" charset="0"/>
              </a:rPr>
              <a:t>+ option + ctrl + G</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1" name="Picture 30">
            <a:extLst>
              <a:ext uri="{FF2B5EF4-FFF2-40B4-BE49-F238E27FC236}">
                <a16:creationId xmlns:a16="http://schemas.microsoft.com/office/drawing/2014/main" id="{E7B73ADD-C9A2-4CC9-B9B1-829AB8120F3E}"/>
              </a:ext>
            </a:extLst>
          </p:cNvPr>
          <p:cNvPicPr>
            <a:picLocks noChangeAspect="1"/>
          </p:cNvPicPr>
          <p:nvPr userDrawn="1"/>
        </p:nvPicPr>
        <p:blipFill>
          <a:blip r:embed="rId2"/>
          <a:stretch>
            <a:fillRect/>
          </a:stretch>
        </p:blipFill>
        <p:spPr>
          <a:xfrm>
            <a:off x="2986180" y="3343654"/>
            <a:ext cx="257143" cy="285714"/>
          </a:xfrm>
          <a:prstGeom prst="rect">
            <a:avLst/>
          </a:prstGeom>
        </p:spPr>
      </p:pic>
      <p:pic>
        <p:nvPicPr>
          <p:cNvPr id="32" name="Picture 31">
            <a:extLst>
              <a:ext uri="{FF2B5EF4-FFF2-40B4-BE49-F238E27FC236}">
                <a16:creationId xmlns:a16="http://schemas.microsoft.com/office/drawing/2014/main" id="{94E7EF11-FB06-4FF3-89B6-C9C7B40D4DA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736075" y="2985049"/>
            <a:ext cx="341204" cy="321707"/>
          </a:xfrm>
          <a:prstGeom prst="rect">
            <a:avLst/>
          </a:prstGeom>
        </p:spPr>
      </p:pic>
      <p:pic>
        <p:nvPicPr>
          <p:cNvPr id="33" name="Billede 1">
            <a:extLst>
              <a:ext uri="{FF2B5EF4-FFF2-40B4-BE49-F238E27FC236}">
                <a16:creationId xmlns:a16="http://schemas.microsoft.com/office/drawing/2014/main" id="{58944A03-80A9-4768-89E7-4E910EFFBC28}"/>
              </a:ext>
            </a:extLst>
          </p:cNvPr>
          <p:cNvPicPr>
            <a:picLocks noChangeAspect="1"/>
          </p:cNvPicPr>
          <p:nvPr userDrawn="1"/>
        </p:nvPicPr>
        <p:blipFill>
          <a:blip r:embed="rId4"/>
          <a:stretch>
            <a:fillRect/>
          </a:stretch>
        </p:blipFill>
        <p:spPr>
          <a:xfrm>
            <a:off x="2991627" y="4362086"/>
            <a:ext cx="308589" cy="528030"/>
          </a:xfrm>
          <a:prstGeom prst="rect">
            <a:avLst/>
          </a:prstGeom>
        </p:spPr>
      </p:pic>
      <p:pic>
        <p:nvPicPr>
          <p:cNvPr id="35" name="Billede 4">
            <a:extLst>
              <a:ext uri="{FF2B5EF4-FFF2-40B4-BE49-F238E27FC236}">
                <a16:creationId xmlns:a16="http://schemas.microsoft.com/office/drawing/2014/main" id="{51BFC2D6-78F9-4DE9-9EA2-2262FCDF4EA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808489" y="2016812"/>
            <a:ext cx="496606" cy="172842"/>
          </a:xfrm>
          <a:prstGeom prst="rect">
            <a:avLst/>
          </a:prstGeom>
        </p:spPr>
      </p:pic>
      <p:pic>
        <p:nvPicPr>
          <p:cNvPr id="36" name="Billede 5">
            <a:extLst>
              <a:ext uri="{FF2B5EF4-FFF2-40B4-BE49-F238E27FC236}">
                <a16:creationId xmlns:a16="http://schemas.microsoft.com/office/drawing/2014/main" id="{EBC4A3E5-1D15-4741-BFC6-17ACF4D5CD3D}"/>
              </a:ext>
            </a:extLst>
          </p:cNvPr>
          <p:cNvPicPr>
            <a:picLocks noChangeAspect="1"/>
          </p:cNvPicPr>
          <p:nvPr userDrawn="1"/>
        </p:nvPicPr>
        <p:blipFill>
          <a:blip r:embed="rId6"/>
          <a:stretch>
            <a:fillRect/>
          </a:stretch>
        </p:blipFill>
        <p:spPr>
          <a:xfrm>
            <a:off x="6812219" y="3629368"/>
            <a:ext cx="366043" cy="480431"/>
          </a:xfrm>
          <a:prstGeom prst="rect">
            <a:avLst/>
          </a:prstGeom>
        </p:spPr>
      </p:pic>
      <p:pic>
        <p:nvPicPr>
          <p:cNvPr id="37" name="Picture 36">
            <a:extLst>
              <a:ext uri="{FF2B5EF4-FFF2-40B4-BE49-F238E27FC236}">
                <a16:creationId xmlns:a16="http://schemas.microsoft.com/office/drawing/2014/main" id="{6C19287C-813E-4966-89A1-64D6247DEA84}"/>
              </a:ext>
            </a:extLst>
          </p:cNvPr>
          <p:cNvPicPr>
            <a:picLocks noChangeAspect="1"/>
          </p:cNvPicPr>
          <p:nvPr userDrawn="1"/>
        </p:nvPicPr>
        <p:blipFill>
          <a:blip r:embed="rId7"/>
          <a:stretch>
            <a:fillRect/>
          </a:stretch>
        </p:blipFill>
        <p:spPr>
          <a:xfrm>
            <a:off x="2986721" y="2585613"/>
            <a:ext cx="457143" cy="257143"/>
          </a:xfrm>
          <a:prstGeom prst="rect">
            <a:avLst/>
          </a:prstGeom>
        </p:spPr>
      </p:pic>
      <p:pic>
        <p:nvPicPr>
          <p:cNvPr id="38" name="Picture 37">
            <a:extLst>
              <a:ext uri="{FF2B5EF4-FFF2-40B4-BE49-F238E27FC236}">
                <a16:creationId xmlns:a16="http://schemas.microsoft.com/office/drawing/2014/main" id="{007658DD-99CF-4B02-82C0-E6D1C908CA1A}"/>
              </a:ext>
            </a:extLst>
          </p:cNvPr>
          <p:cNvPicPr>
            <a:picLocks noChangeAspect="1"/>
          </p:cNvPicPr>
          <p:nvPr userDrawn="1"/>
        </p:nvPicPr>
        <p:blipFill>
          <a:blip r:embed="rId8"/>
          <a:stretch>
            <a:fillRect/>
          </a:stretch>
        </p:blipFill>
        <p:spPr>
          <a:xfrm>
            <a:off x="2992601" y="5039854"/>
            <a:ext cx="475428" cy="176762"/>
          </a:xfrm>
          <a:prstGeom prst="rect">
            <a:avLst/>
          </a:prstGeom>
        </p:spPr>
      </p:pic>
      <p:sp>
        <p:nvSpPr>
          <p:cNvPr id="14" name="Date Placeholder 6" hidden="1">
            <a:extLst>
              <a:ext uri="{FF2B5EF4-FFF2-40B4-BE49-F238E27FC236}">
                <a16:creationId xmlns:a16="http://schemas.microsoft.com/office/drawing/2014/main" id="{E4FD2B6E-39A9-4094-A5FF-CBA180265C06}"/>
              </a:ext>
            </a:extLst>
          </p:cNvPr>
          <p:cNvSpPr>
            <a:spLocks noGrp="1"/>
          </p:cNvSpPr>
          <p:nvPr>
            <p:ph type="dt" sz="half" idx="15"/>
          </p:nvPr>
        </p:nvSpPr>
        <p:spPr>
          <a:xfrm>
            <a:off x="0" y="6858000"/>
            <a:ext cx="0" cy="0"/>
          </a:xfrm>
        </p:spPr>
        <p:txBody>
          <a:bodyPr/>
          <a:lstStyle>
            <a:lvl1pPr>
              <a:defRPr sz="100">
                <a:noFill/>
              </a:defRPr>
            </a:lvl1pPr>
          </a:lstStyle>
          <a:p>
            <a:fld id="{1D736BE2-FA01-468E-9EB3-D707920AA64D}" type="datetime4">
              <a:rPr lang="da-DK" smtClean="0"/>
              <a:t>24-02-05</a:t>
            </a:fld>
            <a:endParaRPr lang="da-DK" dirty="0"/>
          </a:p>
        </p:txBody>
      </p:sp>
      <p:sp>
        <p:nvSpPr>
          <p:cNvPr id="15" name="Footer Placeholder 8" hidden="1">
            <a:extLst>
              <a:ext uri="{FF2B5EF4-FFF2-40B4-BE49-F238E27FC236}">
                <a16:creationId xmlns:a16="http://schemas.microsoft.com/office/drawing/2014/main" id="{AAFF8183-88DB-4217-8B14-93C3A2F3C63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6" name="Slide Number Placeholder 10" hidden="1">
            <a:extLst>
              <a:ext uri="{FF2B5EF4-FFF2-40B4-BE49-F238E27FC236}">
                <a16:creationId xmlns:a16="http://schemas.microsoft.com/office/drawing/2014/main" id="{2ECA3156-EAFA-499A-BDD3-C3FE309B573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da-DK" smtClean="0"/>
              <a:pPr/>
              <a:t>‹nr.›</a:t>
            </a:fld>
            <a:endParaRPr lang="da-DK" dirty="0"/>
          </a:p>
        </p:txBody>
      </p:sp>
    </p:spTree>
    <p:extLst>
      <p:ext uri="{BB962C8B-B14F-4D97-AF65-F5344CB8AC3E}">
        <p14:creationId xmlns:p14="http://schemas.microsoft.com/office/powerpoint/2010/main" val="268068898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gt;Brug ikke layouts efter dette &gt;&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5" name="Do not use"/>
          <p:cNvSpPr txBox="1"/>
          <p:nvPr userDrawn="1"/>
        </p:nvSpPr>
        <p:spPr bwMode="white">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dirty="0">
                <a:solidFill>
                  <a:schemeClr val="bg1"/>
                </a:solidFill>
              </a:rPr>
              <a:t>Hvis du ser andre </a:t>
            </a:r>
            <a:r>
              <a:rPr lang="da-DK" sz="4400" b="1" i="1" noProof="0" dirty="0">
                <a:solidFill>
                  <a:schemeClr val="bg1"/>
                </a:solidFill>
              </a:rPr>
              <a:t>layouts efter dette,</a:t>
            </a:r>
            <a:br>
              <a:rPr lang="da-DK" sz="4400" b="0" i="0" noProof="0" dirty="0">
                <a:solidFill>
                  <a:schemeClr val="bg1"/>
                </a:solidFill>
              </a:rPr>
            </a:br>
            <a:r>
              <a:rPr lang="da-DK" sz="4400" b="0" noProof="0" dirty="0">
                <a:solidFill>
                  <a:schemeClr val="bg1"/>
                </a:solidFill>
              </a:rPr>
              <a:t>brug dem ikke. Disse layouts </a:t>
            </a:r>
            <a:r>
              <a:rPr lang="da-DK" sz="4400" b="1" i="1" u="none" noProof="0" dirty="0">
                <a:solidFill>
                  <a:schemeClr val="bg1"/>
                </a:solidFill>
              </a:rPr>
              <a:t>tilhører ikke </a:t>
            </a:r>
            <a:r>
              <a:rPr lang="da-DK" sz="4400" b="0" i="0" u="none" noProof="0" dirty="0">
                <a:solidFill>
                  <a:schemeClr val="bg1"/>
                </a:solidFill>
              </a:rPr>
              <a:t>vores </a:t>
            </a:r>
            <a:r>
              <a:rPr lang="da-DK" sz="4400" b="0" i="0" u="none" noProof="1">
                <a:solidFill>
                  <a:schemeClr val="bg1"/>
                </a:solidFill>
              </a:rPr>
              <a:t>corporate</a:t>
            </a:r>
            <a:r>
              <a:rPr lang="da-DK" sz="4400" b="0" noProof="0" dirty="0">
                <a:solidFill>
                  <a:schemeClr val="bg1"/>
                </a:solidFill>
              </a:rPr>
              <a:t>skabelon.</a:t>
            </a:r>
            <a:br>
              <a:rPr lang="da-DK" sz="2800" b="0" noProof="0" dirty="0">
                <a:solidFill>
                  <a:schemeClr val="bg1"/>
                </a:solidFill>
              </a:rPr>
            </a:br>
            <a:br>
              <a:rPr lang="da-DK" sz="2800" b="0" noProof="0" dirty="0">
                <a:solidFill>
                  <a:schemeClr val="bg1"/>
                </a:solidFill>
              </a:rPr>
            </a:br>
            <a:endParaRPr lang="da-DK"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72536" y="2986685"/>
            <a:ext cx="10152346" cy="1569660"/>
          </a:xfrm>
          <a:prstGeom prst="rect">
            <a:avLst/>
          </a:prstGeom>
        </p:spPr>
        <p:txBody>
          <a:bodyPr wrap="square">
            <a:spAutoFit/>
          </a:bodyPr>
          <a:lstStyle/>
          <a:p>
            <a:pPr algn="ctr"/>
            <a:r>
              <a:rPr lang="da-DK" sz="9600" b="1" i="1" noProof="0" dirty="0">
                <a:solidFill>
                  <a:schemeClr val="bg1"/>
                </a:solidFill>
              </a:rPr>
              <a:t>Brug dem ikke </a:t>
            </a:r>
            <a:endParaRPr lang="da-DK" sz="9600" b="1" i="1" noProof="0"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Pga. PowerPoints standard Kopier/Indsæt funktionalitet 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dirty="0">
                <a:solidFill>
                  <a:schemeClr val="bg1"/>
                </a:solidFill>
              </a:rPr>
              <a:t>OBS! Layouts efter dette kan indeholde potentiel fortrolig information.</a:t>
            </a:r>
            <a:br>
              <a:rPr lang="da-DK" sz="1800" b="0" noProof="0" dirty="0">
                <a:solidFill>
                  <a:schemeClr val="bg1"/>
                </a:solidFill>
              </a:rPr>
            </a:br>
            <a:endParaRPr lang="da-DK" sz="1800" b="0" noProof="0" dirty="0">
              <a:solidFill>
                <a:schemeClr val="bg1"/>
              </a:solidFill>
            </a:endParaRPr>
          </a:p>
        </p:txBody>
      </p:sp>
      <p:sp>
        <p:nvSpPr>
          <p:cNvPr id="13" name="Date Placeholder 6" hidden="1">
            <a:extLst>
              <a:ext uri="{FF2B5EF4-FFF2-40B4-BE49-F238E27FC236}">
                <a16:creationId xmlns:a16="http://schemas.microsoft.com/office/drawing/2014/main" id="{64CEB7DD-E8FE-47C7-8823-750A10754EB0}"/>
              </a:ext>
            </a:extLst>
          </p:cNvPr>
          <p:cNvSpPr>
            <a:spLocks noGrp="1"/>
          </p:cNvSpPr>
          <p:nvPr>
            <p:ph type="dt" sz="half" idx="15"/>
          </p:nvPr>
        </p:nvSpPr>
        <p:spPr>
          <a:xfrm>
            <a:off x="0" y="6858000"/>
            <a:ext cx="0" cy="0"/>
          </a:xfrm>
        </p:spPr>
        <p:txBody>
          <a:bodyPr/>
          <a:lstStyle>
            <a:lvl1pPr>
              <a:defRPr sz="100">
                <a:noFill/>
              </a:defRPr>
            </a:lvl1pPr>
          </a:lstStyle>
          <a:p>
            <a:fld id="{FCB375CC-2CFD-45EE-817E-F4267FCEFCDF}" type="datetime2">
              <a:rPr lang="da-DK" smtClean="0"/>
              <a:t>5. februar 2024</a:t>
            </a:fld>
            <a:endParaRPr lang="da-DK" dirty="0"/>
          </a:p>
        </p:txBody>
      </p:sp>
      <p:sp>
        <p:nvSpPr>
          <p:cNvPr id="14" name="Footer Placeholder 8" hidden="1">
            <a:extLst>
              <a:ext uri="{FF2B5EF4-FFF2-40B4-BE49-F238E27FC236}">
                <a16:creationId xmlns:a16="http://schemas.microsoft.com/office/drawing/2014/main" id="{06739825-D1B6-4F3A-8216-BA5B32BD19E7}"/>
              </a:ext>
            </a:extLst>
          </p:cNvPr>
          <p:cNvSpPr>
            <a:spLocks noGrp="1"/>
          </p:cNvSpPr>
          <p:nvPr>
            <p:ph type="ftr" sz="quarter" idx="16"/>
          </p:nvPr>
        </p:nvSpPr>
        <p:spPr>
          <a:xfrm>
            <a:off x="0" y="6858000"/>
            <a:ext cx="0" cy="0"/>
          </a:xfrm>
        </p:spPr>
        <p:txBody>
          <a:bodyPr/>
          <a:lstStyle>
            <a:lvl1pPr>
              <a:defRPr sz="100">
                <a:noFill/>
              </a:defRPr>
            </a:lvl1pPr>
          </a:lstStyle>
          <a:p>
            <a:endParaRPr lang="da-DK" dirty="0"/>
          </a:p>
        </p:txBody>
      </p:sp>
      <p:sp>
        <p:nvSpPr>
          <p:cNvPr id="15" name="Slide Number Placeholder 10" hidden="1">
            <a:extLst>
              <a:ext uri="{FF2B5EF4-FFF2-40B4-BE49-F238E27FC236}">
                <a16:creationId xmlns:a16="http://schemas.microsoft.com/office/drawing/2014/main" id="{A2244AC4-18E1-41D9-B6D4-4D2415BE8C35}"/>
              </a:ext>
            </a:extLst>
          </p:cNvPr>
          <p:cNvSpPr>
            <a:spLocks noGrp="1"/>
          </p:cNvSpPr>
          <p:nvPr>
            <p:ph type="sldNum" sz="quarter" idx="17"/>
          </p:nvPr>
        </p:nvSpPr>
        <p:spPr>
          <a:xfrm>
            <a:off x="0" y="6858000"/>
            <a:ext cx="0" cy="0"/>
          </a:xfrm>
        </p:spPr>
        <p:txBody>
          <a:bodyPr/>
          <a:lstStyle>
            <a:lvl1pPr>
              <a:defRPr sz="100">
                <a:noFill/>
              </a:defRPr>
            </a:lvl1p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690649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9166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0126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1556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058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1134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023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93918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69944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5336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6895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94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73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75152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08154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680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2981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23744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4651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31960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732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25494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437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79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0080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t>Agenda</a:t>
            </a:r>
          </a:p>
        </p:txBody>
      </p:sp>
    </p:spTree>
    <p:extLst>
      <p:ext uri="{BB962C8B-B14F-4D97-AF65-F5344CB8AC3E}">
        <p14:creationId xmlns:p14="http://schemas.microsoft.com/office/powerpoint/2010/main" val="1448447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169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9643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18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43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26675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11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005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en-US" sz="4800" b="1" kern="12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18528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892340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2812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65393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2079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04897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84814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70985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9454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360229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113031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95872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69697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0591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76168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25330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432621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329569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6227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833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21876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0910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38629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75050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3071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714178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18503622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67337240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032391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37085739"/>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51846682"/>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pic>
        <p:nvPicPr>
          <p:cNvPr id="4" name="Billede 3">
            <a:extLst>
              <a:ext uri="{FF2B5EF4-FFF2-40B4-BE49-F238E27FC236}">
                <a16:creationId xmlns:a16="http://schemas.microsoft.com/office/drawing/2014/main" id="{48D242BA-D911-9624-0FBB-B21AE3BE038E}"/>
              </a:ext>
            </a:extLst>
          </p:cNvPr>
          <p:cNvPicPr>
            <a:picLocks noChangeAspect="1"/>
          </p:cNvPicPr>
          <p:nvPr userDrawn="1"/>
        </p:nvPicPr>
        <p:blipFill>
          <a:blip r:embed="rId7"/>
          <a:stretch>
            <a:fillRect/>
          </a:stretch>
        </p:blipFill>
        <p:spPr>
          <a:xfrm>
            <a:off x="5696023" y="6503884"/>
            <a:ext cx="799953" cy="301432"/>
          </a:xfrm>
          <a:prstGeom prst="rect">
            <a:avLst/>
          </a:prstGeom>
        </p:spPr>
      </p:pic>
    </p:spTree>
    <p:extLst>
      <p:ext uri="{BB962C8B-B14F-4D97-AF65-F5344CB8AC3E}">
        <p14:creationId xmlns:p14="http://schemas.microsoft.com/office/powerpoint/2010/main" val="10758194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06946999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27134819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417626121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1.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3.sv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image" Target="../media/image21.emf"/><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oleObject" Target="../embeddings/oleObject41.bin"/><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ags" Target="../tags/tag58.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theme" Target="../theme/theme2.xml"/><Relationship Id="rId28" Type="http://schemas.openxmlformats.org/officeDocument/2006/relationships/image" Target="../media/image3.sv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9.xml"/><Relationship Id="rId21" Type="http://schemas.openxmlformats.org/officeDocument/2006/relationships/slideLayout" Target="../slideLayouts/slideLayout134.xml"/><Relationship Id="rId42" Type="http://schemas.openxmlformats.org/officeDocument/2006/relationships/slideLayout" Target="../slideLayouts/slideLayout155.xml"/><Relationship Id="rId47" Type="http://schemas.openxmlformats.org/officeDocument/2006/relationships/slideLayout" Target="../slideLayouts/slideLayout160.xml"/><Relationship Id="rId63" Type="http://schemas.openxmlformats.org/officeDocument/2006/relationships/slideLayout" Target="../slideLayouts/slideLayout176.xml"/><Relationship Id="rId68" Type="http://schemas.openxmlformats.org/officeDocument/2006/relationships/slideLayout" Target="../slideLayouts/slideLayout181.xml"/><Relationship Id="rId84" Type="http://schemas.openxmlformats.org/officeDocument/2006/relationships/slideLayout" Target="../slideLayouts/slideLayout197.xml"/><Relationship Id="rId89" Type="http://schemas.openxmlformats.org/officeDocument/2006/relationships/slideLayout" Target="../slideLayouts/slideLayout202.xml"/><Relationship Id="rId16" Type="http://schemas.openxmlformats.org/officeDocument/2006/relationships/slideLayout" Target="../slideLayouts/slideLayout129.xml"/><Relationship Id="rId11" Type="http://schemas.openxmlformats.org/officeDocument/2006/relationships/slideLayout" Target="../slideLayouts/slideLayout124.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53" Type="http://schemas.openxmlformats.org/officeDocument/2006/relationships/slideLayout" Target="../slideLayouts/slideLayout166.xml"/><Relationship Id="rId58" Type="http://schemas.openxmlformats.org/officeDocument/2006/relationships/slideLayout" Target="../slideLayouts/slideLayout171.xml"/><Relationship Id="rId74" Type="http://schemas.openxmlformats.org/officeDocument/2006/relationships/slideLayout" Target="../slideLayouts/slideLayout187.xml"/><Relationship Id="rId79" Type="http://schemas.openxmlformats.org/officeDocument/2006/relationships/slideLayout" Target="../slideLayouts/slideLayout192.xml"/><Relationship Id="rId5" Type="http://schemas.openxmlformats.org/officeDocument/2006/relationships/slideLayout" Target="../slideLayouts/slideLayout118.xml"/><Relationship Id="rId90" Type="http://schemas.openxmlformats.org/officeDocument/2006/relationships/theme" Target="../theme/theme3.xml"/><Relationship Id="rId95" Type="http://schemas.openxmlformats.org/officeDocument/2006/relationships/image" Target="../media/image3.svg"/><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43" Type="http://schemas.openxmlformats.org/officeDocument/2006/relationships/slideLayout" Target="../slideLayouts/slideLayout156.xml"/><Relationship Id="rId48" Type="http://schemas.openxmlformats.org/officeDocument/2006/relationships/slideLayout" Target="../slideLayouts/slideLayout161.xml"/><Relationship Id="rId64" Type="http://schemas.openxmlformats.org/officeDocument/2006/relationships/slideLayout" Target="../slideLayouts/slideLayout177.xml"/><Relationship Id="rId69" Type="http://schemas.openxmlformats.org/officeDocument/2006/relationships/slideLayout" Target="../slideLayouts/slideLayout182.xml"/><Relationship Id="rId8" Type="http://schemas.openxmlformats.org/officeDocument/2006/relationships/slideLayout" Target="../slideLayouts/slideLayout121.xml"/><Relationship Id="rId51" Type="http://schemas.openxmlformats.org/officeDocument/2006/relationships/slideLayout" Target="../slideLayouts/slideLayout164.xml"/><Relationship Id="rId72" Type="http://schemas.openxmlformats.org/officeDocument/2006/relationships/slideLayout" Target="../slideLayouts/slideLayout185.xml"/><Relationship Id="rId80" Type="http://schemas.openxmlformats.org/officeDocument/2006/relationships/slideLayout" Target="../slideLayouts/slideLayout193.xml"/><Relationship Id="rId85" Type="http://schemas.openxmlformats.org/officeDocument/2006/relationships/slideLayout" Target="../slideLayouts/slideLayout198.xml"/><Relationship Id="rId93" Type="http://schemas.openxmlformats.org/officeDocument/2006/relationships/image" Target="../media/image1.emf"/><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slideLayout" Target="../slideLayouts/slideLayout159.xml"/><Relationship Id="rId59" Type="http://schemas.openxmlformats.org/officeDocument/2006/relationships/slideLayout" Target="../slideLayouts/slideLayout172.xml"/><Relationship Id="rId67" Type="http://schemas.openxmlformats.org/officeDocument/2006/relationships/slideLayout" Target="../slideLayouts/slideLayout180.xml"/><Relationship Id="rId20" Type="http://schemas.openxmlformats.org/officeDocument/2006/relationships/slideLayout" Target="../slideLayouts/slideLayout133.xml"/><Relationship Id="rId41" Type="http://schemas.openxmlformats.org/officeDocument/2006/relationships/slideLayout" Target="../slideLayouts/slideLayout154.xml"/><Relationship Id="rId54" Type="http://schemas.openxmlformats.org/officeDocument/2006/relationships/slideLayout" Target="../slideLayouts/slideLayout167.xml"/><Relationship Id="rId62" Type="http://schemas.openxmlformats.org/officeDocument/2006/relationships/slideLayout" Target="../slideLayouts/slideLayout175.xml"/><Relationship Id="rId70" Type="http://schemas.openxmlformats.org/officeDocument/2006/relationships/slideLayout" Target="../slideLayouts/slideLayout183.xml"/><Relationship Id="rId75" Type="http://schemas.openxmlformats.org/officeDocument/2006/relationships/slideLayout" Target="../slideLayouts/slideLayout188.xml"/><Relationship Id="rId83" Type="http://schemas.openxmlformats.org/officeDocument/2006/relationships/slideLayout" Target="../slideLayouts/slideLayout196.xml"/><Relationship Id="rId88" Type="http://schemas.openxmlformats.org/officeDocument/2006/relationships/slideLayout" Target="../slideLayouts/slideLayout201.xml"/><Relationship Id="rId91" Type="http://schemas.openxmlformats.org/officeDocument/2006/relationships/tags" Target="../tags/tag87.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49" Type="http://schemas.openxmlformats.org/officeDocument/2006/relationships/slideLayout" Target="../slideLayouts/slideLayout162.xml"/><Relationship Id="rId57" Type="http://schemas.openxmlformats.org/officeDocument/2006/relationships/slideLayout" Target="../slideLayouts/slideLayout170.xml"/><Relationship Id="rId10" Type="http://schemas.openxmlformats.org/officeDocument/2006/relationships/slideLayout" Target="../slideLayouts/slideLayout123.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52" Type="http://schemas.openxmlformats.org/officeDocument/2006/relationships/slideLayout" Target="../slideLayouts/slideLayout165.xml"/><Relationship Id="rId60" Type="http://schemas.openxmlformats.org/officeDocument/2006/relationships/slideLayout" Target="../slideLayouts/slideLayout173.xml"/><Relationship Id="rId65" Type="http://schemas.openxmlformats.org/officeDocument/2006/relationships/slideLayout" Target="../slideLayouts/slideLayout178.xml"/><Relationship Id="rId73" Type="http://schemas.openxmlformats.org/officeDocument/2006/relationships/slideLayout" Target="../slideLayouts/slideLayout186.xml"/><Relationship Id="rId78" Type="http://schemas.openxmlformats.org/officeDocument/2006/relationships/slideLayout" Target="../slideLayouts/slideLayout191.xml"/><Relationship Id="rId81" Type="http://schemas.openxmlformats.org/officeDocument/2006/relationships/slideLayout" Target="../slideLayouts/slideLayout194.xml"/><Relationship Id="rId86" Type="http://schemas.openxmlformats.org/officeDocument/2006/relationships/slideLayout" Target="../slideLayouts/slideLayout199.xml"/><Relationship Id="rId94" Type="http://schemas.openxmlformats.org/officeDocument/2006/relationships/image" Target="../media/image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9" Type="http://schemas.openxmlformats.org/officeDocument/2006/relationships/slideLayout" Target="../slideLayouts/slideLayout152.xml"/><Relationship Id="rId34" Type="http://schemas.openxmlformats.org/officeDocument/2006/relationships/slideLayout" Target="../slideLayouts/slideLayout147.xml"/><Relationship Id="rId50" Type="http://schemas.openxmlformats.org/officeDocument/2006/relationships/slideLayout" Target="../slideLayouts/slideLayout163.xml"/><Relationship Id="rId55" Type="http://schemas.openxmlformats.org/officeDocument/2006/relationships/slideLayout" Target="../slideLayouts/slideLayout168.xml"/><Relationship Id="rId76" Type="http://schemas.openxmlformats.org/officeDocument/2006/relationships/slideLayout" Target="../slideLayouts/slideLayout189.xml"/><Relationship Id="rId7" Type="http://schemas.openxmlformats.org/officeDocument/2006/relationships/slideLayout" Target="../slideLayouts/slideLayout120.xml"/><Relationship Id="rId71" Type="http://schemas.openxmlformats.org/officeDocument/2006/relationships/slideLayout" Target="../slideLayouts/slideLayout184.xml"/><Relationship Id="rId92" Type="http://schemas.openxmlformats.org/officeDocument/2006/relationships/oleObject" Target="../embeddings/oleObject64.bin"/><Relationship Id="rId2" Type="http://schemas.openxmlformats.org/officeDocument/2006/relationships/slideLayout" Target="../slideLayouts/slideLayout115.xml"/><Relationship Id="rId29" Type="http://schemas.openxmlformats.org/officeDocument/2006/relationships/slideLayout" Target="../slideLayouts/slideLayout142.xml"/><Relationship Id="rId24" Type="http://schemas.openxmlformats.org/officeDocument/2006/relationships/slideLayout" Target="../slideLayouts/slideLayout137.xml"/><Relationship Id="rId40" Type="http://schemas.openxmlformats.org/officeDocument/2006/relationships/slideLayout" Target="../slideLayouts/slideLayout153.xml"/><Relationship Id="rId45" Type="http://schemas.openxmlformats.org/officeDocument/2006/relationships/slideLayout" Target="../slideLayouts/slideLayout158.xml"/><Relationship Id="rId66" Type="http://schemas.openxmlformats.org/officeDocument/2006/relationships/slideLayout" Target="../slideLayouts/slideLayout179.xml"/><Relationship Id="rId87" Type="http://schemas.openxmlformats.org/officeDocument/2006/relationships/slideLayout" Target="../slideLayouts/slideLayout200.xml"/><Relationship Id="rId61" Type="http://schemas.openxmlformats.org/officeDocument/2006/relationships/slideLayout" Target="../slideLayouts/slideLayout174.xml"/><Relationship Id="rId82" Type="http://schemas.openxmlformats.org/officeDocument/2006/relationships/slideLayout" Target="../slideLayouts/slideLayout195.xml"/><Relationship Id="rId19" Type="http://schemas.openxmlformats.org/officeDocument/2006/relationships/slideLayout" Target="../slideLayouts/slideLayout132.xml"/><Relationship Id="rId14" Type="http://schemas.openxmlformats.org/officeDocument/2006/relationships/slideLayout" Target="../slideLayouts/slideLayout127.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56" Type="http://schemas.openxmlformats.org/officeDocument/2006/relationships/slideLayout" Target="../slideLayouts/slideLayout169.xml"/><Relationship Id="rId77" Type="http://schemas.openxmlformats.org/officeDocument/2006/relationships/slideLayout" Target="../slideLayouts/slideLayout19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image" Target="../media/image33.svg"/><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29" Type="http://schemas.openxmlformats.org/officeDocument/2006/relationships/tags" Target="../tags/tag187.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image" Target="../media/image2.png"/><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theme" Target="../theme/theme4.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image" Target="../media/image21.emf"/><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oleObject" Target="../embeddings/oleObject148.bin"/><Relationship Id="rId8" Type="http://schemas.openxmlformats.org/officeDocument/2006/relationships/slideLayout" Target="../slideLayouts/slideLayout2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3" Type="http://schemas.openxmlformats.org/officeDocument/2006/relationships/slideLayout" Target="../slideLayouts/slideLayout232.xml"/><Relationship Id="rId21" Type="http://schemas.openxmlformats.org/officeDocument/2006/relationships/oleObject" Target="../embeddings/oleObject171.bin"/><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tags" Target="../tags/tag216.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image" Target="../media/image3.svg"/><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image" Target="../media/image2.png"/><Relationship Id="rId10" Type="http://schemas.openxmlformats.org/officeDocument/2006/relationships/slideLayout" Target="../slideLayouts/slideLayout239.xml"/><Relationship Id="rId19" Type="http://schemas.openxmlformats.org/officeDocument/2006/relationships/theme" Target="../theme/theme5.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image" Target="../media/image21.emf"/></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73.xml"/><Relationship Id="rId21" Type="http://schemas.openxmlformats.org/officeDocument/2006/relationships/slideLayout" Target="../slideLayouts/slideLayout268.xml"/><Relationship Id="rId42" Type="http://schemas.openxmlformats.org/officeDocument/2006/relationships/slideLayout" Target="../slideLayouts/slideLayout289.xml"/><Relationship Id="rId47" Type="http://schemas.openxmlformats.org/officeDocument/2006/relationships/slideLayout" Target="../slideLayouts/slideLayout294.xml"/><Relationship Id="rId63" Type="http://schemas.openxmlformats.org/officeDocument/2006/relationships/slideLayout" Target="../slideLayouts/slideLayout310.xml"/><Relationship Id="rId68" Type="http://schemas.openxmlformats.org/officeDocument/2006/relationships/slideLayout" Target="../slideLayouts/slideLayout315.xml"/><Relationship Id="rId84" Type="http://schemas.openxmlformats.org/officeDocument/2006/relationships/slideLayout" Target="../slideLayouts/slideLayout331.xml"/><Relationship Id="rId89" Type="http://schemas.openxmlformats.org/officeDocument/2006/relationships/slideLayout" Target="../slideLayouts/slideLayout336.xml"/><Relationship Id="rId16" Type="http://schemas.openxmlformats.org/officeDocument/2006/relationships/slideLayout" Target="../slideLayouts/slideLayout263.xml"/><Relationship Id="rId11" Type="http://schemas.openxmlformats.org/officeDocument/2006/relationships/slideLayout" Target="../slideLayouts/slideLayout258.xml"/><Relationship Id="rId32" Type="http://schemas.openxmlformats.org/officeDocument/2006/relationships/slideLayout" Target="../slideLayouts/slideLayout279.xml"/><Relationship Id="rId37" Type="http://schemas.openxmlformats.org/officeDocument/2006/relationships/slideLayout" Target="../slideLayouts/slideLayout284.xml"/><Relationship Id="rId53" Type="http://schemas.openxmlformats.org/officeDocument/2006/relationships/slideLayout" Target="../slideLayouts/slideLayout300.xml"/><Relationship Id="rId58" Type="http://schemas.openxmlformats.org/officeDocument/2006/relationships/slideLayout" Target="../slideLayouts/slideLayout305.xml"/><Relationship Id="rId74" Type="http://schemas.openxmlformats.org/officeDocument/2006/relationships/slideLayout" Target="../slideLayouts/slideLayout321.xml"/><Relationship Id="rId79" Type="http://schemas.openxmlformats.org/officeDocument/2006/relationships/slideLayout" Target="../slideLayouts/slideLayout326.xml"/><Relationship Id="rId5" Type="http://schemas.openxmlformats.org/officeDocument/2006/relationships/slideLayout" Target="../slideLayouts/slideLayout252.xml"/><Relationship Id="rId90" Type="http://schemas.openxmlformats.org/officeDocument/2006/relationships/slideLayout" Target="../slideLayouts/slideLayout337.xml"/><Relationship Id="rId95" Type="http://schemas.openxmlformats.org/officeDocument/2006/relationships/oleObject" Target="../embeddings/oleObject189.bin"/><Relationship Id="rId22" Type="http://schemas.openxmlformats.org/officeDocument/2006/relationships/slideLayout" Target="../slideLayouts/slideLayout269.xml"/><Relationship Id="rId27" Type="http://schemas.openxmlformats.org/officeDocument/2006/relationships/slideLayout" Target="../slideLayouts/slideLayout274.xml"/><Relationship Id="rId43" Type="http://schemas.openxmlformats.org/officeDocument/2006/relationships/slideLayout" Target="../slideLayouts/slideLayout290.xml"/><Relationship Id="rId48" Type="http://schemas.openxmlformats.org/officeDocument/2006/relationships/slideLayout" Target="../slideLayouts/slideLayout295.xml"/><Relationship Id="rId64" Type="http://schemas.openxmlformats.org/officeDocument/2006/relationships/slideLayout" Target="../slideLayouts/slideLayout311.xml"/><Relationship Id="rId69" Type="http://schemas.openxmlformats.org/officeDocument/2006/relationships/slideLayout" Target="../slideLayouts/slideLayout316.xml"/><Relationship Id="rId80" Type="http://schemas.openxmlformats.org/officeDocument/2006/relationships/slideLayout" Target="../slideLayouts/slideLayout327.xml"/><Relationship Id="rId85" Type="http://schemas.openxmlformats.org/officeDocument/2006/relationships/slideLayout" Target="../slideLayouts/slideLayout332.xml"/><Relationship Id="rId3" Type="http://schemas.openxmlformats.org/officeDocument/2006/relationships/slideLayout" Target="../slideLayouts/slideLayout250.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5" Type="http://schemas.openxmlformats.org/officeDocument/2006/relationships/slideLayout" Target="../slideLayouts/slideLayout272.xml"/><Relationship Id="rId33" Type="http://schemas.openxmlformats.org/officeDocument/2006/relationships/slideLayout" Target="../slideLayouts/slideLayout280.xml"/><Relationship Id="rId38" Type="http://schemas.openxmlformats.org/officeDocument/2006/relationships/slideLayout" Target="../slideLayouts/slideLayout285.xml"/><Relationship Id="rId46" Type="http://schemas.openxmlformats.org/officeDocument/2006/relationships/slideLayout" Target="../slideLayouts/slideLayout293.xml"/><Relationship Id="rId59" Type="http://schemas.openxmlformats.org/officeDocument/2006/relationships/slideLayout" Target="../slideLayouts/slideLayout306.xml"/><Relationship Id="rId67" Type="http://schemas.openxmlformats.org/officeDocument/2006/relationships/slideLayout" Target="../slideLayouts/slideLayout314.xml"/><Relationship Id="rId20" Type="http://schemas.openxmlformats.org/officeDocument/2006/relationships/slideLayout" Target="../slideLayouts/slideLayout267.xml"/><Relationship Id="rId41" Type="http://schemas.openxmlformats.org/officeDocument/2006/relationships/slideLayout" Target="../slideLayouts/slideLayout288.xml"/><Relationship Id="rId54" Type="http://schemas.openxmlformats.org/officeDocument/2006/relationships/slideLayout" Target="../slideLayouts/slideLayout301.xml"/><Relationship Id="rId62" Type="http://schemas.openxmlformats.org/officeDocument/2006/relationships/slideLayout" Target="../slideLayouts/slideLayout309.xml"/><Relationship Id="rId70" Type="http://schemas.openxmlformats.org/officeDocument/2006/relationships/slideLayout" Target="../slideLayouts/slideLayout317.xml"/><Relationship Id="rId75" Type="http://schemas.openxmlformats.org/officeDocument/2006/relationships/slideLayout" Target="../slideLayouts/slideLayout322.xml"/><Relationship Id="rId83" Type="http://schemas.openxmlformats.org/officeDocument/2006/relationships/slideLayout" Target="../slideLayouts/slideLayout330.xml"/><Relationship Id="rId88" Type="http://schemas.openxmlformats.org/officeDocument/2006/relationships/slideLayout" Target="../slideLayouts/slideLayout335.xml"/><Relationship Id="rId91" Type="http://schemas.openxmlformats.org/officeDocument/2006/relationships/slideLayout" Target="../slideLayouts/slideLayout338.xml"/><Relationship Id="rId96" Type="http://schemas.openxmlformats.org/officeDocument/2006/relationships/image" Target="../media/image1.emf"/><Relationship Id="rId1" Type="http://schemas.openxmlformats.org/officeDocument/2006/relationships/slideLayout" Target="../slideLayouts/slideLayout248.xml"/><Relationship Id="rId6" Type="http://schemas.openxmlformats.org/officeDocument/2006/relationships/slideLayout" Target="../slideLayouts/slideLayout253.xml"/><Relationship Id="rId15" Type="http://schemas.openxmlformats.org/officeDocument/2006/relationships/slideLayout" Target="../slideLayouts/slideLayout262.xml"/><Relationship Id="rId23" Type="http://schemas.openxmlformats.org/officeDocument/2006/relationships/slideLayout" Target="../slideLayouts/slideLayout270.xml"/><Relationship Id="rId28" Type="http://schemas.openxmlformats.org/officeDocument/2006/relationships/slideLayout" Target="../slideLayouts/slideLayout275.xml"/><Relationship Id="rId36" Type="http://schemas.openxmlformats.org/officeDocument/2006/relationships/slideLayout" Target="../slideLayouts/slideLayout283.xml"/><Relationship Id="rId49" Type="http://schemas.openxmlformats.org/officeDocument/2006/relationships/slideLayout" Target="../slideLayouts/slideLayout296.xml"/><Relationship Id="rId57" Type="http://schemas.openxmlformats.org/officeDocument/2006/relationships/slideLayout" Target="../slideLayouts/slideLayout304.xml"/><Relationship Id="rId10" Type="http://schemas.openxmlformats.org/officeDocument/2006/relationships/slideLayout" Target="../slideLayouts/slideLayout257.xml"/><Relationship Id="rId31" Type="http://schemas.openxmlformats.org/officeDocument/2006/relationships/slideLayout" Target="../slideLayouts/slideLayout278.xml"/><Relationship Id="rId44" Type="http://schemas.openxmlformats.org/officeDocument/2006/relationships/slideLayout" Target="../slideLayouts/slideLayout291.xml"/><Relationship Id="rId52" Type="http://schemas.openxmlformats.org/officeDocument/2006/relationships/slideLayout" Target="../slideLayouts/slideLayout299.xml"/><Relationship Id="rId60" Type="http://schemas.openxmlformats.org/officeDocument/2006/relationships/slideLayout" Target="../slideLayouts/slideLayout307.xml"/><Relationship Id="rId65" Type="http://schemas.openxmlformats.org/officeDocument/2006/relationships/slideLayout" Target="../slideLayouts/slideLayout312.xml"/><Relationship Id="rId73" Type="http://schemas.openxmlformats.org/officeDocument/2006/relationships/slideLayout" Target="../slideLayouts/slideLayout320.xml"/><Relationship Id="rId78" Type="http://schemas.openxmlformats.org/officeDocument/2006/relationships/slideLayout" Target="../slideLayouts/slideLayout325.xml"/><Relationship Id="rId81" Type="http://schemas.openxmlformats.org/officeDocument/2006/relationships/slideLayout" Target="../slideLayouts/slideLayout328.xml"/><Relationship Id="rId86" Type="http://schemas.openxmlformats.org/officeDocument/2006/relationships/slideLayout" Target="../slideLayouts/slideLayout333.xml"/><Relationship Id="rId94" Type="http://schemas.openxmlformats.org/officeDocument/2006/relationships/tags" Target="../tags/tag243.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3" Type="http://schemas.openxmlformats.org/officeDocument/2006/relationships/slideLayout" Target="../slideLayouts/slideLayout260.xml"/><Relationship Id="rId18" Type="http://schemas.openxmlformats.org/officeDocument/2006/relationships/slideLayout" Target="../slideLayouts/slideLayout265.xml"/><Relationship Id="rId39" Type="http://schemas.openxmlformats.org/officeDocument/2006/relationships/slideLayout" Target="../slideLayouts/slideLayout286.xml"/><Relationship Id="rId34" Type="http://schemas.openxmlformats.org/officeDocument/2006/relationships/slideLayout" Target="../slideLayouts/slideLayout281.xml"/><Relationship Id="rId50" Type="http://schemas.openxmlformats.org/officeDocument/2006/relationships/slideLayout" Target="../slideLayouts/slideLayout297.xml"/><Relationship Id="rId55" Type="http://schemas.openxmlformats.org/officeDocument/2006/relationships/slideLayout" Target="../slideLayouts/slideLayout302.xml"/><Relationship Id="rId76" Type="http://schemas.openxmlformats.org/officeDocument/2006/relationships/slideLayout" Target="../slideLayouts/slideLayout323.xml"/><Relationship Id="rId97" Type="http://schemas.openxmlformats.org/officeDocument/2006/relationships/image" Target="../media/image2.png"/><Relationship Id="rId7" Type="http://schemas.openxmlformats.org/officeDocument/2006/relationships/slideLayout" Target="../slideLayouts/slideLayout254.xml"/><Relationship Id="rId71" Type="http://schemas.openxmlformats.org/officeDocument/2006/relationships/slideLayout" Target="../slideLayouts/slideLayout318.xml"/><Relationship Id="rId92" Type="http://schemas.openxmlformats.org/officeDocument/2006/relationships/slideLayout" Target="../slideLayouts/slideLayout339.xml"/><Relationship Id="rId2" Type="http://schemas.openxmlformats.org/officeDocument/2006/relationships/slideLayout" Target="../slideLayouts/slideLayout249.xml"/><Relationship Id="rId29" Type="http://schemas.openxmlformats.org/officeDocument/2006/relationships/slideLayout" Target="../slideLayouts/slideLayout276.xml"/><Relationship Id="rId24" Type="http://schemas.openxmlformats.org/officeDocument/2006/relationships/slideLayout" Target="../slideLayouts/slideLayout271.xml"/><Relationship Id="rId40" Type="http://schemas.openxmlformats.org/officeDocument/2006/relationships/slideLayout" Target="../slideLayouts/slideLayout287.xml"/><Relationship Id="rId45" Type="http://schemas.openxmlformats.org/officeDocument/2006/relationships/slideLayout" Target="../slideLayouts/slideLayout292.xml"/><Relationship Id="rId66" Type="http://schemas.openxmlformats.org/officeDocument/2006/relationships/slideLayout" Target="../slideLayouts/slideLayout313.xml"/><Relationship Id="rId87" Type="http://schemas.openxmlformats.org/officeDocument/2006/relationships/slideLayout" Target="../slideLayouts/slideLayout334.xml"/><Relationship Id="rId61" Type="http://schemas.openxmlformats.org/officeDocument/2006/relationships/slideLayout" Target="../slideLayouts/slideLayout308.xml"/><Relationship Id="rId82" Type="http://schemas.openxmlformats.org/officeDocument/2006/relationships/slideLayout" Target="../slideLayouts/slideLayout329.xml"/><Relationship Id="rId19" Type="http://schemas.openxmlformats.org/officeDocument/2006/relationships/slideLayout" Target="../slideLayouts/slideLayout266.xml"/><Relationship Id="rId14" Type="http://schemas.openxmlformats.org/officeDocument/2006/relationships/slideLayout" Target="../slideLayouts/slideLayout261.xml"/><Relationship Id="rId30" Type="http://schemas.openxmlformats.org/officeDocument/2006/relationships/slideLayout" Target="../slideLayouts/slideLayout277.xml"/><Relationship Id="rId35" Type="http://schemas.openxmlformats.org/officeDocument/2006/relationships/slideLayout" Target="../slideLayouts/slideLayout282.xml"/><Relationship Id="rId56" Type="http://schemas.openxmlformats.org/officeDocument/2006/relationships/slideLayout" Target="../slideLayouts/slideLayout303.xml"/><Relationship Id="rId77" Type="http://schemas.openxmlformats.org/officeDocument/2006/relationships/slideLayout" Target="../slideLayouts/slideLayout324.xml"/><Relationship Id="rId8" Type="http://schemas.openxmlformats.org/officeDocument/2006/relationships/slideLayout" Target="../slideLayouts/slideLayout255.xml"/><Relationship Id="rId51" Type="http://schemas.openxmlformats.org/officeDocument/2006/relationships/slideLayout" Target="../slideLayouts/slideLayout298.xml"/><Relationship Id="rId72" Type="http://schemas.openxmlformats.org/officeDocument/2006/relationships/slideLayout" Target="../slideLayouts/slideLayout319.xml"/><Relationship Id="rId93" Type="http://schemas.openxmlformats.org/officeDocument/2006/relationships/theme" Target="../theme/theme6.xml"/><Relationship Id="rId98" Type="http://schemas.openxmlformats.org/officeDocument/2006/relationships/image" Target="../media/image37.svg"/></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65.xml"/><Relationship Id="rId21" Type="http://schemas.openxmlformats.org/officeDocument/2006/relationships/slideLayout" Target="../slideLayouts/slideLayout360.xml"/><Relationship Id="rId42" Type="http://schemas.openxmlformats.org/officeDocument/2006/relationships/slideLayout" Target="../slideLayouts/slideLayout381.xml"/><Relationship Id="rId47" Type="http://schemas.openxmlformats.org/officeDocument/2006/relationships/slideLayout" Target="../slideLayouts/slideLayout386.xml"/><Relationship Id="rId63" Type="http://schemas.openxmlformats.org/officeDocument/2006/relationships/slideLayout" Target="../slideLayouts/slideLayout402.xml"/><Relationship Id="rId68" Type="http://schemas.openxmlformats.org/officeDocument/2006/relationships/slideLayout" Target="../slideLayouts/slideLayout407.xml"/><Relationship Id="rId84" Type="http://schemas.openxmlformats.org/officeDocument/2006/relationships/slideLayout" Target="../slideLayouts/slideLayout423.xml"/><Relationship Id="rId89" Type="http://schemas.openxmlformats.org/officeDocument/2006/relationships/slideLayout" Target="../slideLayouts/slideLayout428.xml"/><Relationship Id="rId16" Type="http://schemas.openxmlformats.org/officeDocument/2006/relationships/slideLayout" Target="../slideLayouts/slideLayout355.xml"/><Relationship Id="rId11" Type="http://schemas.openxmlformats.org/officeDocument/2006/relationships/slideLayout" Target="../slideLayouts/slideLayout350.xml"/><Relationship Id="rId32" Type="http://schemas.openxmlformats.org/officeDocument/2006/relationships/slideLayout" Target="../slideLayouts/slideLayout371.xml"/><Relationship Id="rId37" Type="http://schemas.openxmlformats.org/officeDocument/2006/relationships/slideLayout" Target="../slideLayouts/slideLayout376.xml"/><Relationship Id="rId53" Type="http://schemas.openxmlformats.org/officeDocument/2006/relationships/slideLayout" Target="../slideLayouts/slideLayout392.xml"/><Relationship Id="rId58" Type="http://schemas.openxmlformats.org/officeDocument/2006/relationships/slideLayout" Target="../slideLayouts/slideLayout397.xml"/><Relationship Id="rId74" Type="http://schemas.openxmlformats.org/officeDocument/2006/relationships/slideLayout" Target="../slideLayouts/slideLayout413.xml"/><Relationship Id="rId79" Type="http://schemas.openxmlformats.org/officeDocument/2006/relationships/slideLayout" Target="../slideLayouts/slideLayout418.xml"/><Relationship Id="rId5" Type="http://schemas.openxmlformats.org/officeDocument/2006/relationships/slideLayout" Target="../slideLayouts/slideLayout344.xml"/><Relationship Id="rId90" Type="http://schemas.openxmlformats.org/officeDocument/2006/relationships/theme" Target="../theme/theme7.xml"/><Relationship Id="rId95" Type="http://schemas.openxmlformats.org/officeDocument/2006/relationships/image" Target="../media/image33.svg"/><Relationship Id="rId22" Type="http://schemas.openxmlformats.org/officeDocument/2006/relationships/slideLayout" Target="../slideLayouts/slideLayout361.xml"/><Relationship Id="rId27" Type="http://schemas.openxmlformats.org/officeDocument/2006/relationships/slideLayout" Target="../slideLayouts/slideLayout366.xml"/><Relationship Id="rId43" Type="http://schemas.openxmlformats.org/officeDocument/2006/relationships/slideLayout" Target="../slideLayouts/slideLayout382.xml"/><Relationship Id="rId48" Type="http://schemas.openxmlformats.org/officeDocument/2006/relationships/slideLayout" Target="../slideLayouts/slideLayout387.xml"/><Relationship Id="rId64" Type="http://schemas.openxmlformats.org/officeDocument/2006/relationships/slideLayout" Target="../slideLayouts/slideLayout403.xml"/><Relationship Id="rId69" Type="http://schemas.openxmlformats.org/officeDocument/2006/relationships/slideLayout" Target="../slideLayouts/slideLayout408.xml"/><Relationship Id="rId8" Type="http://schemas.openxmlformats.org/officeDocument/2006/relationships/slideLayout" Target="../slideLayouts/slideLayout347.xml"/><Relationship Id="rId51" Type="http://schemas.openxmlformats.org/officeDocument/2006/relationships/slideLayout" Target="../slideLayouts/slideLayout390.xml"/><Relationship Id="rId72" Type="http://schemas.openxmlformats.org/officeDocument/2006/relationships/slideLayout" Target="../slideLayouts/slideLayout411.xml"/><Relationship Id="rId80" Type="http://schemas.openxmlformats.org/officeDocument/2006/relationships/slideLayout" Target="../slideLayouts/slideLayout419.xml"/><Relationship Id="rId85" Type="http://schemas.openxmlformats.org/officeDocument/2006/relationships/slideLayout" Target="../slideLayouts/slideLayout424.xml"/><Relationship Id="rId93" Type="http://schemas.openxmlformats.org/officeDocument/2006/relationships/image" Target="../media/image1.emf"/><Relationship Id="rId3" Type="http://schemas.openxmlformats.org/officeDocument/2006/relationships/slideLayout" Target="../slideLayouts/slideLayout342.xml"/><Relationship Id="rId12" Type="http://schemas.openxmlformats.org/officeDocument/2006/relationships/slideLayout" Target="../slideLayouts/slideLayout351.xml"/><Relationship Id="rId17" Type="http://schemas.openxmlformats.org/officeDocument/2006/relationships/slideLayout" Target="../slideLayouts/slideLayout356.xml"/><Relationship Id="rId25" Type="http://schemas.openxmlformats.org/officeDocument/2006/relationships/slideLayout" Target="../slideLayouts/slideLayout364.xml"/><Relationship Id="rId33" Type="http://schemas.openxmlformats.org/officeDocument/2006/relationships/slideLayout" Target="../slideLayouts/slideLayout372.xml"/><Relationship Id="rId38" Type="http://schemas.openxmlformats.org/officeDocument/2006/relationships/slideLayout" Target="../slideLayouts/slideLayout377.xml"/><Relationship Id="rId46" Type="http://schemas.openxmlformats.org/officeDocument/2006/relationships/slideLayout" Target="../slideLayouts/slideLayout385.xml"/><Relationship Id="rId59" Type="http://schemas.openxmlformats.org/officeDocument/2006/relationships/slideLayout" Target="../slideLayouts/slideLayout398.xml"/><Relationship Id="rId67" Type="http://schemas.openxmlformats.org/officeDocument/2006/relationships/slideLayout" Target="../slideLayouts/slideLayout406.xml"/><Relationship Id="rId20" Type="http://schemas.openxmlformats.org/officeDocument/2006/relationships/slideLayout" Target="../slideLayouts/slideLayout359.xml"/><Relationship Id="rId41" Type="http://schemas.openxmlformats.org/officeDocument/2006/relationships/slideLayout" Target="../slideLayouts/slideLayout380.xml"/><Relationship Id="rId54" Type="http://schemas.openxmlformats.org/officeDocument/2006/relationships/slideLayout" Target="../slideLayouts/slideLayout393.xml"/><Relationship Id="rId62" Type="http://schemas.openxmlformats.org/officeDocument/2006/relationships/slideLayout" Target="../slideLayouts/slideLayout401.xml"/><Relationship Id="rId70" Type="http://schemas.openxmlformats.org/officeDocument/2006/relationships/slideLayout" Target="../slideLayouts/slideLayout409.xml"/><Relationship Id="rId75" Type="http://schemas.openxmlformats.org/officeDocument/2006/relationships/slideLayout" Target="../slideLayouts/slideLayout414.xml"/><Relationship Id="rId83" Type="http://schemas.openxmlformats.org/officeDocument/2006/relationships/slideLayout" Target="../slideLayouts/slideLayout422.xml"/><Relationship Id="rId88" Type="http://schemas.openxmlformats.org/officeDocument/2006/relationships/slideLayout" Target="../slideLayouts/slideLayout427.xml"/><Relationship Id="rId91" Type="http://schemas.openxmlformats.org/officeDocument/2006/relationships/tags" Target="../tags/tag293.xml"/><Relationship Id="rId1" Type="http://schemas.openxmlformats.org/officeDocument/2006/relationships/slideLayout" Target="../slideLayouts/slideLayout340.xml"/><Relationship Id="rId6" Type="http://schemas.openxmlformats.org/officeDocument/2006/relationships/slideLayout" Target="../slideLayouts/slideLayout345.xml"/><Relationship Id="rId15" Type="http://schemas.openxmlformats.org/officeDocument/2006/relationships/slideLayout" Target="../slideLayouts/slideLayout354.xml"/><Relationship Id="rId23" Type="http://schemas.openxmlformats.org/officeDocument/2006/relationships/slideLayout" Target="../slideLayouts/slideLayout362.xml"/><Relationship Id="rId28" Type="http://schemas.openxmlformats.org/officeDocument/2006/relationships/slideLayout" Target="../slideLayouts/slideLayout367.xml"/><Relationship Id="rId36" Type="http://schemas.openxmlformats.org/officeDocument/2006/relationships/slideLayout" Target="../slideLayouts/slideLayout375.xml"/><Relationship Id="rId49" Type="http://schemas.openxmlformats.org/officeDocument/2006/relationships/slideLayout" Target="../slideLayouts/slideLayout388.xml"/><Relationship Id="rId57" Type="http://schemas.openxmlformats.org/officeDocument/2006/relationships/slideLayout" Target="../slideLayouts/slideLayout396.xml"/><Relationship Id="rId10" Type="http://schemas.openxmlformats.org/officeDocument/2006/relationships/slideLayout" Target="../slideLayouts/slideLayout349.xml"/><Relationship Id="rId31" Type="http://schemas.openxmlformats.org/officeDocument/2006/relationships/slideLayout" Target="../slideLayouts/slideLayout370.xml"/><Relationship Id="rId44" Type="http://schemas.openxmlformats.org/officeDocument/2006/relationships/slideLayout" Target="../slideLayouts/slideLayout383.xml"/><Relationship Id="rId52" Type="http://schemas.openxmlformats.org/officeDocument/2006/relationships/slideLayout" Target="../slideLayouts/slideLayout391.xml"/><Relationship Id="rId60" Type="http://schemas.openxmlformats.org/officeDocument/2006/relationships/slideLayout" Target="../slideLayouts/slideLayout399.xml"/><Relationship Id="rId65" Type="http://schemas.openxmlformats.org/officeDocument/2006/relationships/slideLayout" Target="../slideLayouts/slideLayout404.xml"/><Relationship Id="rId73" Type="http://schemas.openxmlformats.org/officeDocument/2006/relationships/slideLayout" Target="../slideLayouts/slideLayout412.xml"/><Relationship Id="rId78" Type="http://schemas.openxmlformats.org/officeDocument/2006/relationships/slideLayout" Target="../slideLayouts/slideLayout417.xml"/><Relationship Id="rId81" Type="http://schemas.openxmlformats.org/officeDocument/2006/relationships/slideLayout" Target="../slideLayouts/slideLayout420.xml"/><Relationship Id="rId86" Type="http://schemas.openxmlformats.org/officeDocument/2006/relationships/slideLayout" Target="../slideLayouts/slideLayout425.xml"/><Relationship Id="rId94" Type="http://schemas.openxmlformats.org/officeDocument/2006/relationships/image" Target="../media/image2.png"/><Relationship Id="rId4" Type="http://schemas.openxmlformats.org/officeDocument/2006/relationships/slideLayout" Target="../slideLayouts/slideLayout343.xml"/><Relationship Id="rId9" Type="http://schemas.openxmlformats.org/officeDocument/2006/relationships/slideLayout" Target="../slideLayouts/slideLayout348.xml"/><Relationship Id="rId13" Type="http://schemas.openxmlformats.org/officeDocument/2006/relationships/slideLayout" Target="../slideLayouts/slideLayout352.xml"/><Relationship Id="rId18" Type="http://schemas.openxmlformats.org/officeDocument/2006/relationships/slideLayout" Target="../slideLayouts/slideLayout357.xml"/><Relationship Id="rId39" Type="http://schemas.openxmlformats.org/officeDocument/2006/relationships/slideLayout" Target="../slideLayouts/slideLayout378.xml"/><Relationship Id="rId34" Type="http://schemas.openxmlformats.org/officeDocument/2006/relationships/slideLayout" Target="../slideLayouts/slideLayout373.xml"/><Relationship Id="rId50" Type="http://schemas.openxmlformats.org/officeDocument/2006/relationships/slideLayout" Target="../slideLayouts/slideLayout389.xml"/><Relationship Id="rId55" Type="http://schemas.openxmlformats.org/officeDocument/2006/relationships/slideLayout" Target="../slideLayouts/slideLayout394.xml"/><Relationship Id="rId76" Type="http://schemas.openxmlformats.org/officeDocument/2006/relationships/slideLayout" Target="../slideLayouts/slideLayout415.xml"/><Relationship Id="rId7" Type="http://schemas.openxmlformats.org/officeDocument/2006/relationships/slideLayout" Target="../slideLayouts/slideLayout346.xml"/><Relationship Id="rId71" Type="http://schemas.openxmlformats.org/officeDocument/2006/relationships/slideLayout" Target="../slideLayouts/slideLayout410.xml"/><Relationship Id="rId92" Type="http://schemas.openxmlformats.org/officeDocument/2006/relationships/oleObject" Target="../embeddings/oleObject229.bin"/><Relationship Id="rId2" Type="http://schemas.openxmlformats.org/officeDocument/2006/relationships/slideLayout" Target="../slideLayouts/slideLayout341.xml"/><Relationship Id="rId29" Type="http://schemas.openxmlformats.org/officeDocument/2006/relationships/slideLayout" Target="../slideLayouts/slideLayout368.xml"/><Relationship Id="rId24" Type="http://schemas.openxmlformats.org/officeDocument/2006/relationships/slideLayout" Target="../slideLayouts/slideLayout363.xml"/><Relationship Id="rId40" Type="http://schemas.openxmlformats.org/officeDocument/2006/relationships/slideLayout" Target="../slideLayouts/slideLayout379.xml"/><Relationship Id="rId45" Type="http://schemas.openxmlformats.org/officeDocument/2006/relationships/slideLayout" Target="../slideLayouts/slideLayout384.xml"/><Relationship Id="rId66" Type="http://schemas.openxmlformats.org/officeDocument/2006/relationships/slideLayout" Target="../slideLayouts/slideLayout405.xml"/><Relationship Id="rId87" Type="http://schemas.openxmlformats.org/officeDocument/2006/relationships/slideLayout" Target="../slideLayouts/slideLayout426.xml"/><Relationship Id="rId61" Type="http://schemas.openxmlformats.org/officeDocument/2006/relationships/slideLayout" Target="../slideLayouts/slideLayout400.xml"/><Relationship Id="rId82" Type="http://schemas.openxmlformats.org/officeDocument/2006/relationships/slideLayout" Target="../slideLayouts/slideLayout421.xml"/><Relationship Id="rId19" Type="http://schemas.openxmlformats.org/officeDocument/2006/relationships/slideLayout" Target="../slideLayouts/slideLayout358.xml"/><Relationship Id="rId14" Type="http://schemas.openxmlformats.org/officeDocument/2006/relationships/slideLayout" Target="../slideLayouts/slideLayout353.xml"/><Relationship Id="rId30" Type="http://schemas.openxmlformats.org/officeDocument/2006/relationships/slideLayout" Target="../slideLayouts/slideLayout369.xml"/><Relationship Id="rId35" Type="http://schemas.openxmlformats.org/officeDocument/2006/relationships/slideLayout" Target="../slideLayouts/slideLayout374.xml"/><Relationship Id="rId56" Type="http://schemas.openxmlformats.org/officeDocument/2006/relationships/slideLayout" Target="../slideLayouts/slideLayout395.xml"/><Relationship Id="rId77" Type="http://schemas.openxmlformats.org/officeDocument/2006/relationships/slideLayout" Target="../slideLayouts/slideLayout41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9" Type="http://schemas.openxmlformats.org/officeDocument/2006/relationships/tags" Target="../tags/tag357.xml"/><Relationship Id="rId21" Type="http://schemas.openxmlformats.org/officeDocument/2006/relationships/slideLayout" Target="../slideLayouts/slideLayout449.xml"/><Relationship Id="rId34" Type="http://schemas.openxmlformats.org/officeDocument/2006/relationships/tags" Target="../tags/tag352.xml"/><Relationship Id="rId42" Type="http://schemas.openxmlformats.org/officeDocument/2006/relationships/tags" Target="../tags/tag360.xml"/><Relationship Id="rId7" Type="http://schemas.openxmlformats.org/officeDocument/2006/relationships/slideLayout" Target="../slideLayouts/slideLayout435.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41" Type="http://schemas.openxmlformats.org/officeDocument/2006/relationships/tags" Target="../tags/tag359.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32" Type="http://schemas.openxmlformats.org/officeDocument/2006/relationships/tags" Target="../tags/tag350.xml"/><Relationship Id="rId37" Type="http://schemas.openxmlformats.org/officeDocument/2006/relationships/tags" Target="../tags/tag355.xml"/><Relationship Id="rId40" Type="http://schemas.openxmlformats.org/officeDocument/2006/relationships/tags" Target="../tags/tag358.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36" Type="http://schemas.openxmlformats.org/officeDocument/2006/relationships/tags" Target="../tags/tag354.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tags" Target="../tags/tag349.xml"/><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theme" Target="../theme/theme8.xml"/><Relationship Id="rId35" Type="http://schemas.openxmlformats.org/officeDocument/2006/relationships/tags" Target="../tags/tag353.xml"/><Relationship Id="rId43" Type="http://schemas.openxmlformats.org/officeDocument/2006/relationships/tags" Target="../tags/tag361.xml"/><Relationship Id="rId8" Type="http://schemas.openxmlformats.org/officeDocument/2006/relationships/slideLayout" Target="../slideLayouts/slideLayout436.xml"/><Relationship Id="rId3" Type="http://schemas.openxmlformats.org/officeDocument/2006/relationships/slideLayout" Target="../slideLayouts/slideLayout431.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33" Type="http://schemas.openxmlformats.org/officeDocument/2006/relationships/tags" Target="../tags/tag351.xml"/><Relationship Id="rId38" Type="http://schemas.openxmlformats.org/officeDocument/2006/relationships/tags" Target="../tags/tag3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4" imgW="270" imgH="270" progId="TCLayout.ActiveDocument.1">
                  <p:embed/>
                </p:oleObj>
              </mc:Choice>
              <mc:Fallback>
                <p:oleObj name="think-cell Slide" r:id="rId94" imgW="270" imgH="270" progId="TCLayout.ActiveDocument.1">
                  <p:embed/>
                  <p:pic>
                    <p:nvPicPr>
                      <p:cNvPr id="2" name="Object 1" hidden="1"/>
                      <p:cNvPicPr/>
                      <p:nvPr/>
                    </p:nvPicPr>
                    <p:blipFill>
                      <a:blip r:embed="rId95"/>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6" cstate="screen">
            <a:extLst>
              <a:ext uri="{28A0092B-C50C-407E-A947-70E740481C1C}">
                <a14:useLocalDpi xmlns:a14="http://schemas.microsoft.com/office/drawing/2010/main"/>
              </a:ext>
              <a:ext uri="{96DAC541-7B7A-43D3-8B79-37D633B846F1}">
                <asvg:svgBlip xmlns:asvg="http://schemas.microsoft.com/office/drawing/2016/SVG/main" r:embed="rId97"/>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01764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98" r:id="rId9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4"/>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012151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909440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da-DK" err="1"/>
              <a:t>Click</a:t>
            </a:r>
            <a:r>
              <a:rPr lang="da-DK"/>
              <a:t> to </a:t>
            </a:r>
            <a:r>
              <a:rPr lang="da-DK" err="1"/>
              <a:t>add</a:t>
            </a:r>
            <a:r>
              <a:rPr lang="da-DK"/>
              <a:t> </a:t>
            </a:r>
            <a:r>
              <a:rPr lang="da-DK" err="1"/>
              <a:t>title</a:t>
            </a:r>
            <a:endParaRPr lang="da-DK"/>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a:p>
            <a:pPr lvl="5"/>
            <a:r>
              <a:rPr lang="da-DK"/>
              <a:t>Level </a:t>
            </a:r>
            <a:r>
              <a:rPr lang="da-DK" err="1"/>
              <a:t>six</a:t>
            </a:r>
            <a:endParaRPr lang="da-DK"/>
          </a:p>
          <a:p>
            <a:pPr lvl="6"/>
            <a:r>
              <a:rPr lang="da-DK"/>
              <a:t>Level </a:t>
            </a:r>
            <a:r>
              <a:rPr lang="da-DK" err="1"/>
              <a:t>seven</a:t>
            </a:r>
            <a:endParaRPr lang="da-DK"/>
          </a:p>
          <a:p>
            <a:pPr lvl="7"/>
            <a:r>
              <a:rPr lang="da-DK"/>
              <a:t>Level </a:t>
            </a:r>
            <a:r>
              <a:rPr lang="da-DK" err="1"/>
              <a:t>eight</a:t>
            </a:r>
            <a:endParaRPr lang="da-DK"/>
          </a:p>
          <a:p>
            <a:pPr lvl="8"/>
            <a:r>
              <a:rPr lang="da-DK"/>
              <a:t>Level </a:t>
            </a:r>
            <a:r>
              <a:rPr lang="da-DK" err="1"/>
              <a:t>nine</a:t>
            </a:r>
            <a:endParaRPr lang="da-DK"/>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71108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 id="2147483899" r:id="rId60"/>
    <p:sldLayoutId id="2147483900" r:id="rId61"/>
    <p:sldLayoutId id="2147483901" r:id="rId62"/>
    <p:sldLayoutId id="2147483902" r:id="rId63"/>
    <p:sldLayoutId id="2147483903" r:id="rId64"/>
    <p:sldLayoutId id="2147483904" r:id="rId65"/>
    <p:sldLayoutId id="2147483905" r:id="rId66"/>
    <p:sldLayoutId id="2147483906" r:id="rId67"/>
    <p:sldLayoutId id="2147483907" r:id="rId68"/>
    <p:sldLayoutId id="2147483908" r:id="rId69"/>
    <p:sldLayoutId id="2147483909" r:id="rId70"/>
    <p:sldLayoutId id="2147483910" r:id="rId71"/>
    <p:sldLayoutId id="2147483911" r:id="rId72"/>
    <p:sldLayoutId id="2147483912" r:id="rId73"/>
    <p:sldLayoutId id="2147483913" r:id="rId74"/>
    <p:sldLayoutId id="2147483914" r:id="rId75"/>
    <p:sldLayoutId id="2147483915" r:id="rId76"/>
    <p:sldLayoutId id="2147483916" r:id="rId77"/>
    <p:sldLayoutId id="2147483917" r:id="rId78"/>
    <p:sldLayoutId id="2147483918" r:id="rId79"/>
    <p:sldLayoutId id="2147483919" r:id="rId80"/>
    <p:sldLayoutId id="2147483920" r:id="rId81"/>
    <p:sldLayoutId id="2147483921" r:id="rId82"/>
    <p:sldLayoutId id="2147483922" r:id="rId83"/>
    <p:sldLayoutId id="2147483923" r:id="rId84"/>
    <p:sldLayoutId id="2147483924" r:id="rId85"/>
    <p:sldLayoutId id="2147483925" r:id="rId86"/>
    <p:sldLayoutId id="2147483926" r:id="rId87"/>
    <p:sldLayoutId id="2147483927" r:id="rId88"/>
    <p:sldLayoutId id="2147483928"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9"/>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7" imgH="348" progId="TCLayout.ActiveDocument.1">
                  <p:embed/>
                </p:oleObj>
              </mc:Choice>
              <mc:Fallback>
                <p:oleObj name="think-cell Slide" r:id="rId30"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1083351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BA973B-0E69-4528-8D3C-C5B596DD1EBC}"/>
              </a:ext>
            </a:extLst>
          </p:cNvPr>
          <p:cNvGraphicFramePr>
            <a:graphicFrameLocks noChangeAspect="1"/>
          </p:cNvGraphicFramePr>
          <p:nvPr userDrawn="1">
            <p:custDataLst>
              <p:tags r:id="rId20"/>
            </p:custDataLst>
            <p:extLst>
              <p:ext uri="{D42A27DB-BD31-4B8C-83A1-F6EECF244321}">
                <p14:modId xmlns:p14="http://schemas.microsoft.com/office/powerpoint/2010/main" val="337974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4" name="Object 3" hidden="1">
                        <a:extLst>
                          <a:ext uri="{FF2B5EF4-FFF2-40B4-BE49-F238E27FC236}">
                            <a16:creationId xmlns:a16="http://schemas.microsoft.com/office/drawing/2014/main" id="{23BA973B-0E69-4528-8D3C-C5B596DD1EB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GB" err="1"/>
              <a:t>Overskrift</a:t>
            </a:r>
            <a:endParaRPr lang="en-GB"/>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en-GB" smtClean="0"/>
              <a:pPr/>
              <a:t>‹nr.›</a:t>
            </a:fld>
            <a:endParaRPr lang="en-GB"/>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eaLnBrk="1">
              <a:defRPr sz="600">
                <a:solidFill>
                  <a:schemeClr val="tx1"/>
                </a:solidFill>
                <a:latin typeface="+mj-lt"/>
              </a:defRPr>
            </a:lvl1pPr>
          </a:lstStyle>
          <a:p>
            <a:endParaRPr lang="en-GB"/>
          </a:p>
        </p:txBody>
      </p:sp>
    </p:spTree>
    <p:extLst>
      <p:ext uri="{BB962C8B-B14F-4D97-AF65-F5344CB8AC3E}">
        <p14:creationId xmlns:p14="http://schemas.microsoft.com/office/powerpoint/2010/main" val="3547949557"/>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4"/>
            </p:custDataLst>
            <p:extLst>
              <p:ext uri="{D42A27DB-BD31-4B8C-83A1-F6EECF244321}">
                <p14:modId xmlns:p14="http://schemas.microsoft.com/office/powerpoint/2010/main" val="1094387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5" imgW="270" imgH="270" progId="TCLayout.ActiveDocument.1">
                  <p:embed/>
                </p:oleObj>
              </mc:Choice>
              <mc:Fallback>
                <p:oleObj name="think-cell Slide" r:id="rId95" imgW="270" imgH="270" progId="TCLayout.ActiveDocument.1">
                  <p:embed/>
                  <p:pic>
                    <p:nvPicPr>
                      <p:cNvPr id="2" name="Object 1" hidden="1"/>
                      <p:cNvPicPr/>
                      <p:nvPr/>
                    </p:nvPicPr>
                    <p:blipFill>
                      <a:blip r:embed="rId96"/>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7" cstate="email">
            <a:extLst>
              <a:ext uri="{28A0092B-C50C-407E-A947-70E740481C1C}">
                <a14:useLocalDpi xmlns:a14="http://schemas.microsoft.com/office/drawing/2010/main"/>
              </a:ext>
              <a:ext uri="{96DAC541-7B7A-43D3-8B79-37D633B846F1}">
                <asvg:svgBlip xmlns:asvg="http://schemas.microsoft.com/office/drawing/2016/SVG/main" r:embed="rId9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725927300"/>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 id="2147484109" r:id="rId24"/>
    <p:sldLayoutId id="2147484110" r:id="rId25"/>
    <p:sldLayoutId id="2147484111" r:id="rId26"/>
    <p:sldLayoutId id="2147484112" r:id="rId27"/>
    <p:sldLayoutId id="2147484113" r:id="rId28"/>
    <p:sldLayoutId id="2147484114" r:id="rId29"/>
    <p:sldLayoutId id="2147484115" r:id="rId30"/>
    <p:sldLayoutId id="2147484116" r:id="rId31"/>
    <p:sldLayoutId id="2147484117" r:id="rId32"/>
    <p:sldLayoutId id="2147484118" r:id="rId33"/>
    <p:sldLayoutId id="2147484119" r:id="rId34"/>
    <p:sldLayoutId id="2147484120" r:id="rId35"/>
    <p:sldLayoutId id="2147484121" r:id="rId36"/>
    <p:sldLayoutId id="2147484122" r:id="rId37"/>
    <p:sldLayoutId id="2147484123" r:id="rId38"/>
    <p:sldLayoutId id="2147484124" r:id="rId39"/>
    <p:sldLayoutId id="2147484125" r:id="rId40"/>
    <p:sldLayoutId id="2147484126" r:id="rId41"/>
    <p:sldLayoutId id="2147484127" r:id="rId42"/>
    <p:sldLayoutId id="2147484128" r:id="rId43"/>
    <p:sldLayoutId id="2147484129" r:id="rId44"/>
    <p:sldLayoutId id="2147484130" r:id="rId45"/>
    <p:sldLayoutId id="2147484131" r:id="rId46"/>
    <p:sldLayoutId id="2147484132" r:id="rId47"/>
    <p:sldLayoutId id="2147484133" r:id="rId48"/>
    <p:sldLayoutId id="2147484134" r:id="rId49"/>
    <p:sldLayoutId id="2147484135" r:id="rId50"/>
    <p:sldLayoutId id="2147484136" r:id="rId51"/>
    <p:sldLayoutId id="2147484137" r:id="rId52"/>
    <p:sldLayoutId id="2147484138" r:id="rId53"/>
    <p:sldLayoutId id="2147484139" r:id="rId54"/>
    <p:sldLayoutId id="2147484140" r:id="rId55"/>
    <p:sldLayoutId id="2147484141" r:id="rId56"/>
    <p:sldLayoutId id="2147484142" r:id="rId57"/>
    <p:sldLayoutId id="2147484143" r:id="rId58"/>
    <p:sldLayoutId id="2147484144" r:id="rId59"/>
    <p:sldLayoutId id="2147484145" r:id="rId60"/>
    <p:sldLayoutId id="2147484146" r:id="rId61"/>
    <p:sldLayoutId id="2147484147" r:id="rId62"/>
    <p:sldLayoutId id="2147484148" r:id="rId63"/>
    <p:sldLayoutId id="2147484149" r:id="rId64"/>
    <p:sldLayoutId id="2147484150" r:id="rId65"/>
    <p:sldLayoutId id="2147484151" r:id="rId66"/>
    <p:sldLayoutId id="2147484152" r:id="rId67"/>
    <p:sldLayoutId id="2147484153" r:id="rId68"/>
    <p:sldLayoutId id="2147484154" r:id="rId69"/>
    <p:sldLayoutId id="2147484155" r:id="rId70"/>
    <p:sldLayoutId id="2147484156" r:id="rId71"/>
    <p:sldLayoutId id="2147484157" r:id="rId72"/>
    <p:sldLayoutId id="2147484158" r:id="rId73"/>
    <p:sldLayoutId id="2147484159" r:id="rId74"/>
    <p:sldLayoutId id="2147484160" r:id="rId75"/>
    <p:sldLayoutId id="2147484161" r:id="rId76"/>
    <p:sldLayoutId id="2147484162" r:id="rId77"/>
    <p:sldLayoutId id="2147484163" r:id="rId78"/>
    <p:sldLayoutId id="2147484164" r:id="rId79"/>
    <p:sldLayoutId id="2147484165" r:id="rId80"/>
    <p:sldLayoutId id="2147484166" r:id="rId81"/>
    <p:sldLayoutId id="2147484167" r:id="rId82"/>
    <p:sldLayoutId id="2147484168" r:id="rId83"/>
    <p:sldLayoutId id="2147484169" r:id="rId84"/>
    <p:sldLayoutId id="2147484170" r:id="rId85"/>
    <p:sldLayoutId id="2147484171" r:id="rId86"/>
    <p:sldLayoutId id="2147484172" r:id="rId87"/>
    <p:sldLayoutId id="2147484173" r:id="rId88"/>
    <p:sldLayoutId id="2147484174" r:id="rId89"/>
    <p:sldLayoutId id="2147484175" r:id="rId90"/>
    <p:sldLayoutId id="2147484176" r:id="rId91"/>
    <p:sldLayoutId id="2147484177" r:id="rId9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1094387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dirty="0"/>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136789264"/>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 id="2147484184" r:id="rId6"/>
    <p:sldLayoutId id="2147484185" r:id="rId7"/>
    <p:sldLayoutId id="2147484186" r:id="rId8"/>
    <p:sldLayoutId id="2147484187" r:id="rId9"/>
    <p:sldLayoutId id="2147484188" r:id="rId10"/>
    <p:sldLayoutId id="2147484189" r:id="rId11"/>
    <p:sldLayoutId id="2147484190" r:id="rId12"/>
    <p:sldLayoutId id="2147484191" r:id="rId13"/>
    <p:sldLayoutId id="2147484192" r:id="rId14"/>
    <p:sldLayoutId id="2147484193" r:id="rId15"/>
    <p:sldLayoutId id="2147484194" r:id="rId16"/>
    <p:sldLayoutId id="2147484195" r:id="rId17"/>
    <p:sldLayoutId id="2147484196" r:id="rId18"/>
    <p:sldLayoutId id="2147484197" r:id="rId19"/>
    <p:sldLayoutId id="2147484198" r:id="rId20"/>
    <p:sldLayoutId id="2147484199" r:id="rId21"/>
    <p:sldLayoutId id="2147484200" r:id="rId22"/>
    <p:sldLayoutId id="2147484201" r:id="rId23"/>
    <p:sldLayoutId id="2147484202" r:id="rId24"/>
    <p:sldLayoutId id="2147484203" r:id="rId25"/>
    <p:sldLayoutId id="2147484204" r:id="rId26"/>
    <p:sldLayoutId id="2147484205" r:id="rId27"/>
    <p:sldLayoutId id="2147484206" r:id="rId28"/>
    <p:sldLayoutId id="2147484207" r:id="rId29"/>
    <p:sldLayoutId id="2147484208" r:id="rId30"/>
    <p:sldLayoutId id="2147484209" r:id="rId31"/>
    <p:sldLayoutId id="2147484210" r:id="rId32"/>
    <p:sldLayoutId id="2147484211" r:id="rId33"/>
    <p:sldLayoutId id="2147484212" r:id="rId34"/>
    <p:sldLayoutId id="2147484213" r:id="rId35"/>
    <p:sldLayoutId id="2147484214" r:id="rId36"/>
    <p:sldLayoutId id="2147484215" r:id="rId37"/>
    <p:sldLayoutId id="2147484216" r:id="rId38"/>
    <p:sldLayoutId id="2147484217" r:id="rId39"/>
    <p:sldLayoutId id="2147484218" r:id="rId40"/>
    <p:sldLayoutId id="2147484219" r:id="rId41"/>
    <p:sldLayoutId id="2147484220" r:id="rId42"/>
    <p:sldLayoutId id="2147484221" r:id="rId43"/>
    <p:sldLayoutId id="2147484222" r:id="rId44"/>
    <p:sldLayoutId id="2147484223" r:id="rId45"/>
    <p:sldLayoutId id="2147484224" r:id="rId46"/>
    <p:sldLayoutId id="2147484225" r:id="rId47"/>
    <p:sldLayoutId id="2147484226" r:id="rId48"/>
    <p:sldLayoutId id="2147484227" r:id="rId49"/>
    <p:sldLayoutId id="2147484228" r:id="rId50"/>
    <p:sldLayoutId id="2147484229" r:id="rId51"/>
    <p:sldLayoutId id="2147484230" r:id="rId52"/>
    <p:sldLayoutId id="2147484231" r:id="rId53"/>
    <p:sldLayoutId id="2147484232" r:id="rId54"/>
    <p:sldLayoutId id="2147484233" r:id="rId55"/>
    <p:sldLayoutId id="2147484234" r:id="rId56"/>
    <p:sldLayoutId id="2147484235" r:id="rId57"/>
    <p:sldLayoutId id="2147484236" r:id="rId58"/>
    <p:sldLayoutId id="2147484237" r:id="rId59"/>
    <p:sldLayoutId id="2147484238" r:id="rId60"/>
    <p:sldLayoutId id="2147484239" r:id="rId61"/>
    <p:sldLayoutId id="2147484240" r:id="rId62"/>
    <p:sldLayoutId id="2147484241" r:id="rId63"/>
    <p:sldLayoutId id="2147484242" r:id="rId64"/>
    <p:sldLayoutId id="2147484243" r:id="rId65"/>
    <p:sldLayoutId id="2147484244" r:id="rId66"/>
    <p:sldLayoutId id="2147484245" r:id="rId67"/>
    <p:sldLayoutId id="2147484246" r:id="rId68"/>
    <p:sldLayoutId id="2147484247" r:id="rId69"/>
    <p:sldLayoutId id="2147484248" r:id="rId70"/>
    <p:sldLayoutId id="2147484249" r:id="rId71"/>
    <p:sldLayoutId id="2147484250" r:id="rId72"/>
    <p:sldLayoutId id="2147484251" r:id="rId73"/>
    <p:sldLayoutId id="2147484252" r:id="rId74"/>
    <p:sldLayoutId id="2147484253" r:id="rId75"/>
    <p:sldLayoutId id="2147484254" r:id="rId76"/>
    <p:sldLayoutId id="2147484255" r:id="rId77"/>
    <p:sldLayoutId id="2147484256" r:id="rId78"/>
    <p:sldLayoutId id="2147484257" r:id="rId79"/>
    <p:sldLayoutId id="2147484258" r:id="rId80"/>
    <p:sldLayoutId id="2147484259" r:id="rId81"/>
    <p:sldLayoutId id="2147484260" r:id="rId82"/>
    <p:sldLayoutId id="2147484261" r:id="rId83"/>
    <p:sldLayoutId id="2147484262" r:id="rId84"/>
    <p:sldLayoutId id="2147484263" r:id="rId85"/>
    <p:sldLayoutId id="2147484264" r:id="rId86"/>
    <p:sldLayoutId id="2147484265" r:id="rId87"/>
    <p:sldLayoutId id="2147484266" r:id="rId88"/>
    <p:sldLayoutId id="2147484267"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30000" y="360000"/>
            <a:ext cx="10932120" cy="900000"/>
          </a:xfrm>
          <a:prstGeom prst="rect">
            <a:avLst/>
          </a:prstGeom>
        </p:spPr>
        <p:txBody>
          <a:bodyPr vert="horz" lIns="90000" tIns="46800" rIns="90000" bIns="46800" rtlCol="0" anchor="ctr" anchorCtr="0">
            <a:noAutofit/>
          </a:bodyPr>
          <a:lstStyle/>
          <a:p>
            <a:r>
              <a:rPr lang="da-DK" noProof="0" dirty="0"/>
              <a:t>Klik for at redigere titeltypografien i masteren</a:t>
            </a:r>
          </a:p>
        </p:txBody>
      </p:sp>
      <p:sp>
        <p:nvSpPr>
          <p:cNvPr id="3" name="Text Placeholder 2"/>
          <p:cNvSpPr>
            <a:spLocks noGrp="1"/>
          </p:cNvSpPr>
          <p:nvPr>
            <p:ph type="body" idx="1"/>
          </p:nvPr>
        </p:nvSpPr>
        <p:spPr>
          <a:xfrm>
            <a:off x="630000" y="1440000"/>
            <a:ext cx="10932120" cy="4518000"/>
          </a:xfrm>
          <a:prstGeom prst="rect">
            <a:avLst/>
          </a:prstGeom>
        </p:spPr>
        <p:txBody>
          <a:bodyPr vert="horz" lIns="90000" tIns="46800" rIns="90000" bIns="46800" rtlCol="0">
            <a:noAutofit/>
          </a:bodyPr>
          <a:lstStyle/>
          <a:p>
            <a:pPr lvl="0"/>
            <a:r>
              <a:rPr lang="da-DK" noProof="0" dirty="0"/>
              <a:t>Level 1, Bullet 1, </a:t>
            </a:r>
            <a:r>
              <a:rPr lang="da-DK" noProof="0" dirty="0" err="1"/>
              <a:t>Noto</a:t>
            </a:r>
            <a:r>
              <a:rPr lang="da-DK" noProof="0" dirty="0"/>
              <a:t> Serif (body) 18 pt</a:t>
            </a:r>
          </a:p>
          <a:p>
            <a:pPr lvl="1"/>
            <a:r>
              <a:rPr lang="da-DK" noProof="0" dirty="0"/>
              <a:t>Level 2, Bullet 2, </a:t>
            </a:r>
            <a:r>
              <a:rPr lang="da-DK" noProof="0" dirty="0" err="1"/>
              <a:t>Noto</a:t>
            </a:r>
            <a:r>
              <a:rPr lang="da-DK" noProof="0" dirty="0"/>
              <a:t> Serif (body) 16 pt</a:t>
            </a:r>
          </a:p>
          <a:p>
            <a:pPr lvl="2"/>
            <a:r>
              <a:rPr lang="da-DK" noProof="0" dirty="0"/>
              <a:t>Level 3, Bullet 3, </a:t>
            </a:r>
            <a:r>
              <a:rPr lang="da-DK" noProof="0" dirty="0" err="1"/>
              <a:t>Noto</a:t>
            </a:r>
            <a:r>
              <a:rPr lang="da-DK" noProof="0" dirty="0"/>
              <a:t> Serif (body), 14 pt</a:t>
            </a:r>
          </a:p>
          <a:p>
            <a:pPr lvl="3"/>
            <a:r>
              <a:rPr lang="da-DK" noProof="0" dirty="0"/>
              <a:t>Level 4, Bullet 4, </a:t>
            </a:r>
            <a:r>
              <a:rPr lang="da-DK" noProof="0" dirty="0" err="1"/>
              <a:t>Noto</a:t>
            </a:r>
            <a:r>
              <a:rPr lang="da-DK" noProof="0" dirty="0"/>
              <a:t> Serif (body), 12 pt</a:t>
            </a:r>
          </a:p>
          <a:p>
            <a:pPr lvl="4"/>
            <a:r>
              <a:rPr lang="da-DK" noProof="0" dirty="0"/>
              <a:t>Level 5, Bullet 5, </a:t>
            </a:r>
            <a:r>
              <a:rPr lang="da-DK" noProof="0" dirty="0" err="1"/>
              <a:t>Noto</a:t>
            </a:r>
            <a:r>
              <a:rPr lang="da-DK" noProof="0" dirty="0"/>
              <a:t> Serif (body), 10 pt</a:t>
            </a:r>
          </a:p>
          <a:p>
            <a:pPr lvl="5"/>
            <a:r>
              <a:rPr lang="da-DK" noProof="0" dirty="0"/>
              <a:t>Level 6, Sub header, </a:t>
            </a:r>
            <a:r>
              <a:rPr lang="da-DK" noProof="0" dirty="0" err="1"/>
              <a:t>Noto</a:t>
            </a:r>
            <a:r>
              <a:rPr lang="da-DK" noProof="0" dirty="0"/>
              <a:t> Serif (body), 18 pt</a:t>
            </a:r>
          </a:p>
          <a:p>
            <a:pPr lvl="6"/>
            <a:r>
              <a:rPr lang="da-DK" noProof="0" dirty="0"/>
              <a:t>Level 7, Bullet 1, </a:t>
            </a:r>
            <a:r>
              <a:rPr lang="da-DK" noProof="0" dirty="0" err="1"/>
              <a:t>Noto</a:t>
            </a:r>
            <a:r>
              <a:rPr lang="da-DK" noProof="0" dirty="0"/>
              <a:t> Serif (body), 18 pt</a:t>
            </a:r>
          </a:p>
          <a:p>
            <a:pPr lvl="7"/>
            <a:r>
              <a:rPr lang="da-DK" noProof="0" dirty="0"/>
              <a:t>Level 8, Bullet 2, </a:t>
            </a:r>
            <a:r>
              <a:rPr lang="da-DK" noProof="0" dirty="0" err="1"/>
              <a:t>Noto</a:t>
            </a:r>
            <a:r>
              <a:rPr lang="da-DK" noProof="0" dirty="0"/>
              <a:t> Serif (body), 16 pt</a:t>
            </a:r>
          </a:p>
          <a:p>
            <a:pPr lvl="8"/>
            <a:r>
              <a:rPr lang="da-DK" noProof="0" dirty="0" err="1"/>
              <a:t>Infographic</a:t>
            </a:r>
            <a:br>
              <a:rPr lang="da-DK" noProof="0" dirty="0"/>
            </a:br>
            <a:r>
              <a:rPr lang="da-DK" noProof="0" dirty="0" err="1"/>
              <a:t>Noto</a:t>
            </a:r>
            <a:r>
              <a:rPr lang="da-DK" noProof="0" dirty="0"/>
              <a:t> Serif 54 pt</a:t>
            </a:r>
          </a:p>
        </p:txBody>
      </p:sp>
      <p:grpSp>
        <p:nvGrpSpPr>
          <p:cNvPr id="55" name="Group 54" hidden="1">
            <a:extLst>
              <a:ext uri="{FF2B5EF4-FFF2-40B4-BE49-F238E27FC236}">
                <a16:creationId xmlns:a16="http://schemas.microsoft.com/office/drawing/2014/main" id="{7B0AC159-1619-4983-AF6A-38C0F8478E95}"/>
              </a:ext>
            </a:extLst>
          </p:cNvPr>
          <p:cNvGrpSpPr/>
          <p:nvPr userDrawn="1"/>
        </p:nvGrpSpPr>
        <p:grpSpPr>
          <a:xfrm>
            <a:off x="630000" y="360000"/>
            <a:ext cx="10932121" cy="5598000"/>
            <a:chOff x="630000" y="360000"/>
            <a:chExt cx="10932121" cy="5598000"/>
          </a:xfrm>
        </p:grpSpPr>
        <p:sp>
          <p:nvSpPr>
            <p:cNvPr id="35" name="[WorkArea]" descr="&lt;?xml version=&quot;1.0&quot; encoding=&quot;utf-16&quot;?&gt;&#10;&lt;GridTheme xmlns:xsi=&quot;http://www.w3.org/2001/XMLSchema-instance&quot; xmlns:xsd=&quot;http://www.w3.org/2001/XMLSchema&quot;&gt;&#10;  &lt;GuideLines /&gt;&#10;  &lt;SubGrids&gt;&#10;    &lt;SubGrid&gt;&#10;      &lt;Left&gt;49.6063&lt;/Left&gt;&#10;      &lt;Top&gt;28.3464565&lt;/Top&gt;&#10;      &lt;Width&gt;860.796936&lt;/Width&gt;&#10;      &lt;Height&gt;70.86614&lt;/Height&gt;&#10;    &lt;/SubGrid&gt;&#10;    &lt;SubGrid&gt;&#10;      &lt;Left&gt;49.6063&lt;/Left&gt;&#10;      &lt;Top&gt;113.385826&lt;/Top&gt;&#10;      &lt;Width&gt;71.73307&lt;/Width&gt;&#10;      &lt;Height&gt;355.748016&lt;/Height&gt;&#10;    &lt;/SubGrid&gt;&#10;    &lt;SubGrid&gt;&#10;      &lt;Left&gt;838.6701&lt;/Left&gt;&#10;      &lt;Top&gt;113.385826&lt;/Top&gt;&#10;      &lt;Width&gt;71.73315&lt;/Width&gt;&#10;      &lt;Height&gt;355.748016&lt;/Height&gt;&#10;    &lt;/SubGrid&gt;&#10;    &lt;SubGrid&gt;&#10;      &lt;Left&gt;121.339371&lt;/Left&gt;&#10;      &lt;Top&gt;113.385826&lt;/Top&gt;&#10;      &lt;Width&gt;71.73307&lt;/Width&gt;&#10;      &lt;Height&gt;355.748016&lt;/Height&gt;&#10;    &lt;/SubGrid&gt;&#10;    &lt;SubGrid&gt;&#10;      &lt;Left&gt;193.072433&lt;/Left&gt;&#10;      &lt;Top&gt;113.385826&lt;/Top&gt;&#10;      &lt;Width&gt;71.73307&lt;/Width&gt;&#10;      &lt;Height&gt;355.748016&lt;/Height&gt;&#10;    &lt;/SubGrid&gt;&#10;    &lt;SubGrid&gt;&#10;      &lt;Left&gt;264.8055&lt;/Left&gt;&#10;      &lt;Top&gt;113.385826&lt;/Top&gt;&#10;      &lt;Width&gt;71.73307&lt;/Width&gt;&#10;      &lt;Height&gt;355.748016&lt;/Height&gt;&#10;    &lt;/SubGrid&gt;&#10;    &lt;SubGrid&gt;&#10;      &lt;Left&gt;336.538574&lt;/Left&gt;&#10;      &lt;Top&gt;113.385826&lt;/Top&gt;&#10;      &lt;Width&gt;71.73307&lt;/Width&gt;&#10;      &lt;Height&gt;355.748016&lt;/Height&gt;&#10;    &lt;/SubGrid&gt;&#10;    &lt;SubGrid&gt;&#10;      &lt;Left&gt;408.271667&lt;/Left&gt;&#10;      &lt;Top&gt;113.385826&lt;/Top&gt;&#10;      &lt;Width&gt;71.73307&lt;/Width&gt;&#10;      &lt;Height&gt;355.748016&lt;/Height&gt;&#10;    &lt;/SubGrid&gt;&#10;    &lt;SubGrid&gt;&#10;      &lt;Left&gt;480.00473&lt;/Left&gt;&#10;      &lt;Top&gt;113.385826&lt;/Top&gt;&#10;      &lt;Width&gt;71.73307&lt;/Width&gt;&#10;      &lt;Height&gt;355.748016&lt;/Height&gt;&#10;    &lt;/SubGrid&gt;&#10;    &lt;SubGrid&gt;&#10;      &lt;Left&gt;551.7378&lt;/Left&gt;&#10;      &lt;Top&gt;113.385826&lt;/Top&gt;&#10;      &lt;Width&gt;71.73307&lt;/Width&gt;&#10;      &lt;Height&gt;355.748016&lt;/Height&gt;&#10;    &lt;/SubGrid&gt;&#10;    &lt;SubGrid&gt;&#10;      &lt;Left&gt;623.4709&lt;/Left&gt;&#10;      &lt;Top&gt;113.385826&lt;/Top&gt;&#10;      &lt;Width&gt;71.73315&lt;/Width&gt;&#10;      &lt;Height&gt;355.748016&lt;/Height&gt;&#10;    &lt;/SubGrid&gt;&#10;    &lt;SubGrid&gt;&#10;      &lt;Left&gt;695.2039&lt;/Left&gt;&#10;      &lt;Top&gt;113.385826&lt;/Top&gt;&#10;      &lt;Width&gt;71.73307&lt;/Width&gt;&#10;      &lt;Height&gt;355.748016&lt;/Height&gt;&#10;    &lt;/SubGrid&gt;&#10;    &lt;SubGrid&gt;&#10;      &lt;Left&gt;766.937&lt;/Left&gt;&#10;      &lt;Top&gt;113.385826&lt;/Top&gt;&#10;      &lt;Width&gt;71.73307&lt;/Width&gt;&#10;      &lt;Height&gt;355.748016&lt;/Height&gt;&#10;    &lt;/SubGrid&gt;&#10;  &lt;/SubGrids&gt;&#10;  &lt;WorkArea&gt;&#10;    &lt;Top&gt;28.3464565&lt;/Top&gt;&#10;    &lt;Left&gt;49.6063&lt;/Left&gt;&#10;    &lt;Width&gt;860.796936&lt;/Width&gt;&#10;    &lt;Height&gt;440.7874&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239924F0-1569-4573-90A9-E84A6E3660F3}"/>
                </a:ext>
              </a:extLst>
            </p:cNvPr>
            <p:cNvSpPr/>
            <p:nvPr userDrawn="1"/>
          </p:nvSpPr>
          <p:spPr>
            <a:xfrm>
              <a:off x="630000" y="360000"/>
              <a:ext cx="10932121" cy="559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6" name="Rectangle 35">
              <a:extLst>
                <a:ext uri="{FF2B5EF4-FFF2-40B4-BE49-F238E27FC236}">
                  <a16:creationId xmlns:a16="http://schemas.microsoft.com/office/drawing/2014/main" id="{D983F7B5-1425-497C-8E27-8EEF49EA302E}"/>
                </a:ext>
              </a:extLst>
            </p:cNvPr>
            <p:cNvSpPr/>
            <p:nvPr userDrawn="1">
              <p:custDataLst>
                <p:tags r:id="rId31"/>
              </p:custDataLst>
            </p:nvPr>
          </p:nvSpPr>
          <p:spPr>
            <a:xfrm>
              <a:off x="630000" y="360000"/>
              <a:ext cx="10932121" cy="900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7" name="Rectangle 36">
              <a:extLst>
                <a:ext uri="{FF2B5EF4-FFF2-40B4-BE49-F238E27FC236}">
                  <a16:creationId xmlns:a16="http://schemas.microsoft.com/office/drawing/2014/main" id="{0781654D-BACA-4852-AD3C-8FF0D8428E28}"/>
                </a:ext>
              </a:extLst>
            </p:cNvPr>
            <p:cNvSpPr/>
            <p:nvPr userDrawn="1">
              <p:custDataLst>
                <p:tags r:id="rId32"/>
              </p:custDataLst>
            </p:nvPr>
          </p:nvSpPr>
          <p:spPr>
            <a:xfrm>
              <a:off x="63000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8" name="Rectangle 37">
              <a:extLst>
                <a:ext uri="{FF2B5EF4-FFF2-40B4-BE49-F238E27FC236}">
                  <a16:creationId xmlns:a16="http://schemas.microsoft.com/office/drawing/2014/main" id="{C1E14B45-6AE9-48F9-87F4-7B773892DA44}"/>
                </a:ext>
              </a:extLst>
            </p:cNvPr>
            <p:cNvSpPr/>
            <p:nvPr userDrawn="1">
              <p:custDataLst>
                <p:tags r:id="rId33"/>
              </p:custDataLst>
            </p:nvPr>
          </p:nvSpPr>
          <p:spPr>
            <a:xfrm>
              <a:off x="10651110" y="1440000"/>
              <a:ext cx="911011"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39" name="Rectangle 38">
              <a:extLst>
                <a:ext uri="{FF2B5EF4-FFF2-40B4-BE49-F238E27FC236}">
                  <a16:creationId xmlns:a16="http://schemas.microsoft.com/office/drawing/2014/main" id="{625CE4A4-C4E9-4C1E-8595-1EF9DA3A3A47}"/>
                </a:ext>
              </a:extLst>
            </p:cNvPr>
            <p:cNvSpPr/>
            <p:nvPr userDrawn="1">
              <p:custDataLst>
                <p:tags r:id="rId34"/>
              </p:custDataLst>
            </p:nvPr>
          </p:nvSpPr>
          <p:spPr>
            <a:xfrm>
              <a:off x="154101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0" name="Rectangle 39">
              <a:extLst>
                <a:ext uri="{FF2B5EF4-FFF2-40B4-BE49-F238E27FC236}">
                  <a16:creationId xmlns:a16="http://schemas.microsoft.com/office/drawing/2014/main" id="{48DC76D5-9995-46A6-8B9D-8F0F27699A6C}"/>
                </a:ext>
              </a:extLst>
            </p:cNvPr>
            <p:cNvSpPr/>
            <p:nvPr userDrawn="1">
              <p:custDataLst>
                <p:tags r:id="rId35"/>
              </p:custDataLst>
            </p:nvPr>
          </p:nvSpPr>
          <p:spPr>
            <a:xfrm>
              <a:off x="245202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1" name="Rectangle 40">
              <a:extLst>
                <a:ext uri="{FF2B5EF4-FFF2-40B4-BE49-F238E27FC236}">
                  <a16:creationId xmlns:a16="http://schemas.microsoft.com/office/drawing/2014/main" id="{A621C16F-94F8-474F-90F8-E0FAB5BF09A2}"/>
                </a:ext>
              </a:extLst>
            </p:cNvPr>
            <p:cNvSpPr/>
            <p:nvPr userDrawn="1">
              <p:custDataLst>
                <p:tags r:id="rId36"/>
              </p:custDataLst>
            </p:nvPr>
          </p:nvSpPr>
          <p:spPr>
            <a:xfrm>
              <a:off x="336303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2" name="Rectangle 41">
              <a:extLst>
                <a:ext uri="{FF2B5EF4-FFF2-40B4-BE49-F238E27FC236}">
                  <a16:creationId xmlns:a16="http://schemas.microsoft.com/office/drawing/2014/main" id="{413CE0B4-2A05-43BA-92C4-C3F1555271D0}"/>
                </a:ext>
              </a:extLst>
            </p:cNvPr>
            <p:cNvSpPr/>
            <p:nvPr userDrawn="1">
              <p:custDataLst>
                <p:tags r:id="rId37"/>
              </p:custDataLst>
            </p:nvPr>
          </p:nvSpPr>
          <p:spPr>
            <a:xfrm>
              <a:off x="427404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3" name="Rectangle 42">
              <a:extLst>
                <a:ext uri="{FF2B5EF4-FFF2-40B4-BE49-F238E27FC236}">
                  <a16:creationId xmlns:a16="http://schemas.microsoft.com/office/drawing/2014/main" id="{DF503E59-8321-4A10-891D-31D2D128856C}"/>
                </a:ext>
              </a:extLst>
            </p:cNvPr>
            <p:cNvSpPr/>
            <p:nvPr userDrawn="1">
              <p:custDataLst>
                <p:tags r:id="rId38"/>
              </p:custDataLst>
            </p:nvPr>
          </p:nvSpPr>
          <p:spPr>
            <a:xfrm>
              <a:off x="518505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4" name="Rectangle 43">
              <a:extLst>
                <a:ext uri="{FF2B5EF4-FFF2-40B4-BE49-F238E27FC236}">
                  <a16:creationId xmlns:a16="http://schemas.microsoft.com/office/drawing/2014/main" id="{077ABD64-1967-46A5-A653-F1B0CEAC2EFE}"/>
                </a:ext>
              </a:extLst>
            </p:cNvPr>
            <p:cNvSpPr/>
            <p:nvPr userDrawn="1">
              <p:custDataLst>
                <p:tags r:id="rId39"/>
              </p:custDataLst>
            </p:nvPr>
          </p:nvSpPr>
          <p:spPr>
            <a:xfrm>
              <a:off x="609606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5" name="Rectangle 44">
              <a:extLst>
                <a:ext uri="{FF2B5EF4-FFF2-40B4-BE49-F238E27FC236}">
                  <a16:creationId xmlns:a16="http://schemas.microsoft.com/office/drawing/2014/main" id="{5AC1BF87-219E-4E17-B83D-E22C5E3BF743}"/>
                </a:ext>
              </a:extLst>
            </p:cNvPr>
            <p:cNvSpPr/>
            <p:nvPr userDrawn="1">
              <p:custDataLst>
                <p:tags r:id="rId40"/>
              </p:custDataLst>
            </p:nvPr>
          </p:nvSpPr>
          <p:spPr>
            <a:xfrm>
              <a:off x="700707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6" name="Rectangle 45">
              <a:extLst>
                <a:ext uri="{FF2B5EF4-FFF2-40B4-BE49-F238E27FC236}">
                  <a16:creationId xmlns:a16="http://schemas.microsoft.com/office/drawing/2014/main" id="{F149F7F7-9E17-4CB0-9240-105CAF063012}"/>
                </a:ext>
              </a:extLst>
            </p:cNvPr>
            <p:cNvSpPr/>
            <p:nvPr userDrawn="1">
              <p:custDataLst>
                <p:tags r:id="rId41"/>
              </p:custDataLst>
            </p:nvPr>
          </p:nvSpPr>
          <p:spPr>
            <a:xfrm>
              <a:off x="7918080" y="1440000"/>
              <a:ext cx="911011"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7" name="Rectangle 46">
              <a:extLst>
                <a:ext uri="{FF2B5EF4-FFF2-40B4-BE49-F238E27FC236}">
                  <a16:creationId xmlns:a16="http://schemas.microsoft.com/office/drawing/2014/main" id="{E958B8B1-FFFE-4EF6-B056-52473591FE22}"/>
                </a:ext>
              </a:extLst>
            </p:cNvPr>
            <p:cNvSpPr/>
            <p:nvPr userDrawn="1">
              <p:custDataLst>
                <p:tags r:id="rId42"/>
              </p:custDataLst>
            </p:nvPr>
          </p:nvSpPr>
          <p:spPr>
            <a:xfrm>
              <a:off x="882909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sp>
          <p:nvSpPr>
            <p:cNvPr id="48" name="Rectangle 47">
              <a:extLst>
                <a:ext uri="{FF2B5EF4-FFF2-40B4-BE49-F238E27FC236}">
                  <a16:creationId xmlns:a16="http://schemas.microsoft.com/office/drawing/2014/main" id="{67F657D4-3B7F-41F7-B0AB-DB0C699556AE}"/>
                </a:ext>
              </a:extLst>
            </p:cNvPr>
            <p:cNvSpPr/>
            <p:nvPr userDrawn="1">
              <p:custDataLst>
                <p:tags r:id="rId43"/>
              </p:custDataLst>
            </p:nvPr>
          </p:nvSpPr>
          <p:spPr>
            <a:xfrm>
              <a:off x="9740100" y="1440000"/>
              <a:ext cx="911010" cy="4518000"/>
            </a:xfrm>
            <a:prstGeom prst="rect">
              <a:avLst/>
            </a:prstGeom>
            <a:noFill/>
            <a:ln w="3175" cap="flat" cmpd="sng" algn="ctr">
              <a:solidFill>
                <a:srgbClr val="FF006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dirty="0"/>
            </a:p>
          </p:txBody>
        </p:sp>
      </p:grpSp>
      <p:sp>
        <p:nvSpPr>
          <p:cNvPr id="20" name="Slide Number Placeholder 5">
            <a:extLst>
              <a:ext uri="{FF2B5EF4-FFF2-40B4-BE49-F238E27FC236}">
                <a16:creationId xmlns:a16="http://schemas.microsoft.com/office/drawing/2014/main" id="{A28CADFD-7B7D-154B-9AC5-19B31FF6F6A2}"/>
              </a:ext>
            </a:extLst>
          </p:cNvPr>
          <p:cNvSpPr>
            <a:spLocks noGrp="1"/>
          </p:cNvSpPr>
          <p:nvPr>
            <p:ph type="sldNum" sz="quarter" idx="4"/>
          </p:nvPr>
        </p:nvSpPr>
        <p:spPr>
          <a:xfrm>
            <a:off x="10634400" y="6195600"/>
            <a:ext cx="456000" cy="288000"/>
          </a:xfrm>
          <a:prstGeom prst="rect">
            <a:avLst/>
          </a:prstGeom>
        </p:spPr>
        <p:txBody>
          <a:bodyPr vert="horz" lIns="0" tIns="0" rIns="0" bIns="0" rtlCol="0" anchor="ctr" anchorCtr="0"/>
          <a:lstStyle>
            <a:lvl1pPr algn="r">
              <a:defRPr sz="800">
                <a:solidFill>
                  <a:schemeClr val="tx1"/>
                </a:solidFill>
              </a:defRPr>
            </a:lvl1pPr>
          </a:lstStyle>
          <a:p>
            <a:fld id="{24C8C45C-947F-4981-8B3F-4F32E973C901}" type="slidenum">
              <a:rPr lang="da-DK" smtClean="0"/>
              <a:pPr/>
              <a:t>‹nr.›</a:t>
            </a:fld>
            <a:endParaRPr lang="da-DK" dirty="0"/>
          </a:p>
        </p:txBody>
      </p:sp>
      <p:sp>
        <p:nvSpPr>
          <p:cNvPr id="2" name="Pladsholder til dato 1" hidden="1">
            <a:extLst>
              <a:ext uri="{FF2B5EF4-FFF2-40B4-BE49-F238E27FC236}">
                <a16:creationId xmlns:a16="http://schemas.microsoft.com/office/drawing/2014/main" id="{5D5A5631-F51D-40FF-AB83-0DAC48B1C772}"/>
              </a:ext>
            </a:extLst>
          </p:cNvPr>
          <p:cNvSpPr>
            <a:spLocks noGrp="1"/>
          </p:cNvSpPr>
          <p:nvPr>
            <p:ph type="dt" sz="half" idx="2"/>
          </p:nvPr>
        </p:nvSpPr>
        <p:spPr>
          <a:xfrm>
            <a:off x="0" y="6858000"/>
            <a:ext cx="0" cy="0"/>
          </a:xfrm>
          <a:prstGeom prst="rect">
            <a:avLst/>
          </a:prstGeom>
        </p:spPr>
        <p:txBody>
          <a:bodyPr vert="horz" lIns="91440" tIns="45720" rIns="91440" bIns="45720" rtlCol="0" anchor="ctr"/>
          <a:lstStyle>
            <a:lvl1pPr algn="l">
              <a:defRPr sz="1200">
                <a:noFill/>
              </a:defRPr>
            </a:lvl1pPr>
          </a:lstStyle>
          <a:p>
            <a:endParaRPr lang="da-DK" dirty="0"/>
          </a:p>
        </p:txBody>
      </p:sp>
      <p:sp>
        <p:nvSpPr>
          <p:cNvPr id="4" name="Pladsholder til sidefod 3" hidden="1">
            <a:extLst>
              <a:ext uri="{FF2B5EF4-FFF2-40B4-BE49-F238E27FC236}">
                <a16:creationId xmlns:a16="http://schemas.microsoft.com/office/drawing/2014/main" id="{FBF0278D-F15B-448B-A490-57D5390389DE}"/>
              </a:ext>
            </a:extLst>
          </p:cNvPr>
          <p:cNvSpPr>
            <a:spLocks noGrp="1"/>
          </p:cNvSpPr>
          <p:nvPr>
            <p:ph type="ftr" sz="quarter" idx="3"/>
          </p:nvPr>
        </p:nvSpPr>
        <p:spPr>
          <a:xfrm>
            <a:off x="0" y="6858000"/>
            <a:ext cx="0" cy="0"/>
          </a:xfrm>
          <a:prstGeom prst="rect">
            <a:avLst/>
          </a:prstGeom>
        </p:spPr>
        <p:txBody>
          <a:bodyPr vert="horz" lIns="91440" tIns="45720" rIns="91440" bIns="45720" rtlCol="0" anchor="ctr"/>
          <a:lstStyle>
            <a:lvl1pPr algn="ctr">
              <a:defRPr sz="1200">
                <a:noFill/>
              </a:defRPr>
            </a:lvl1pPr>
          </a:lstStyle>
          <a:p>
            <a:endParaRPr lang="da-DK" dirty="0"/>
          </a:p>
        </p:txBody>
      </p:sp>
    </p:spTree>
    <p:extLst>
      <p:ext uri="{BB962C8B-B14F-4D97-AF65-F5344CB8AC3E}">
        <p14:creationId xmlns:p14="http://schemas.microsoft.com/office/powerpoint/2010/main" val="2917170479"/>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 id="2147484289" r:id="rId21"/>
    <p:sldLayoutId id="2147484290" r:id="rId22"/>
    <p:sldLayoutId id="2147484291" r:id="rId23"/>
    <p:sldLayoutId id="2147484292" r:id="rId24"/>
    <p:sldLayoutId id="2147484293" r:id="rId25"/>
    <p:sldLayoutId id="2147484294" r:id="rId26"/>
    <p:sldLayoutId id="2147484295" r:id="rId27"/>
    <p:sldLayoutId id="2147484296" r:id="rId28"/>
    <p:sldLayoutId id="2147484297" r:id="rId29"/>
  </p:sldLayoutIdLst>
  <p:hf hdr="0" ftr="0" dt="0"/>
  <p:txStyles>
    <p:title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p:titleStyle>
    <p:bodyStyle>
      <a:lvl1pPr marL="180000" indent="-180000" algn="l" defTabSz="914400" rtl="0" eaLnBrk="1" latinLnBrk="0" hangingPunct="1">
        <a:lnSpc>
          <a:spcPct val="90000"/>
        </a:lnSpc>
        <a:spcBef>
          <a:spcPts val="1000"/>
        </a:spcBef>
        <a:spcAft>
          <a:spcPts val="0"/>
        </a:spcAft>
        <a:buFont typeface="Arial" panose="020B0604020202020204" pitchFamily="34" charset="0"/>
        <a:buChar char="•"/>
        <a:defRPr sz="18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6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40000" indent="-180000" algn="l" defTabSz="914400" rtl="0" eaLnBrk="1" latinLnBrk="0" hangingPunct="1">
        <a:lnSpc>
          <a:spcPct val="90000"/>
        </a:lnSpc>
        <a:spcBef>
          <a:spcPts val="500"/>
        </a:spcBef>
        <a:spcAft>
          <a:spcPts val="0"/>
        </a:spcAft>
        <a:buFont typeface="Arial" panose="020B0604020202020204" pitchFamily="34" charset="0"/>
        <a:buChar char="•"/>
        <a:defRPr sz="14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20000" indent="-180000" algn="l" defTabSz="914400" rtl="0" eaLnBrk="1" latinLnBrk="0" hangingPunct="1">
        <a:lnSpc>
          <a:spcPct val="90000"/>
        </a:lnSpc>
        <a:spcBef>
          <a:spcPts val="500"/>
        </a:spcBef>
        <a:spcAft>
          <a:spcPts val="0"/>
        </a:spcAft>
        <a:buFont typeface="Arial" panose="020B0604020202020204" pitchFamily="34" charset="0"/>
        <a:buChar char="•"/>
        <a:defRPr sz="1200" b="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900000" indent="-180000" algn="l" defTabSz="914400" rtl="0" eaLnBrk="1" latinLnBrk="0" hangingPunct="1">
        <a:lnSpc>
          <a:spcPct val="90000"/>
        </a:lnSpc>
        <a:spcBef>
          <a:spcPts val="500"/>
        </a:spcBef>
        <a:spcAft>
          <a:spcPts val="0"/>
        </a:spcAft>
        <a:buFont typeface="Arial" panose="020B0604020202020204" pitchFamily="34" charset="0"/>
        <a:buChar char="•"/>
        <a:tabLst/>
        <a:defRPr sz="10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0" indent="0" algn="l" defTabSz="914400" rtl="0" eaLnBrk="1" latinLnBrk="0" hangingPunct="1">
        <a:lnSpc>
          <a:spcPct val="90000"/>
        </a:lnSpc>
        <a:spcBef>
          <a:spcPts val="0"/>
        </a:spcBef>
        <a:spcAft>
          <a:spcPts val="0"/>
        </a:spcAft>
        <a:buFont typeface="Arial" panose="020B0604020202020204" pitchFamily="34" charset="0"/>
        <a:buChar char="​"/>
        <a:defRPr sz="1800" b="1"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6pPr>
      <a:lvl7pPr marL="180000" indent="-180000" algn="l" defTabSz="914400" rtl="0" eaLnBrk="1" latinLnBrk="0" hangingPunct="1">
        <a:lnSpc>
          <a:spcPct val="90000"/>
        </a:lnSpc>
        <a:spcBef>
          <a:spcPts val="1000"/>
        </a:spcBef>
        <a:spcAft>
          <a:spcPts val="0"/>
        </a:spcAft>
        <a:buFont typeface="Arial" panose="020B0604020202020204" pitchFamily="34" charset="0"/>
        <a:buChar char="•"/>
        <a:defRPr sz="1800" b="0" kern="1200"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7pPr>
      <a:lvl8pPr marL="360000" indent="-180000" algn="l" defTabSz="914400" rtl="0" eaLnBrk="1" latinLnBrk="0" hangingPunct="1">
        <a:lnSpc>
          <a:spcPct val="90000"/>
        </a:lnSpc>
        <a:spcBef>
          <a:spcPts val="500"/>
        </a:spcBef>
        <a:spcAft>
          <a:spcPts val="0"/>
        </a:spcAft>
        <a:buFont typeface="Arial" panose="020B0604020202020204" pitchFamily="34" charset="0"/>
        <a:buChar char="•"/>
        <a:defRPr sz="160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5400" b="1" kern="1200" cap="all"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6">
          <p15:clr>
            <a:srgbClr val="F26B43"/>
          </p15:clr>
        </p15:guide>
        <p15:guide id="2" pos="7283">
          <p15:clr>
            <a:srgbClr val="F26B43"/>
          </p15:clr>
        </p15:guide>
        <p15:guide id="3" orient="horz" pos="226">
          <p15:clr>
            <a:srgbClr val="F26B43"/>
          </p15:clr>
        </p15:guide>
        <p15:guide id="4" orient="horz" pos="3753">
          <p15:clr>
            <a:srgbClr val="F26B43"/>
          </p15:clr>
        </p15:guide>
        <p15:guide id="5" orient="horz" pos="793">
          <p15:clr>
            <a:srgbClr val="F26B43"/>
          </p15:clr>
        </p15:guide>
        <p15:guide id="7" orient="horz" pos="907">
          <p15:clr>
            <a:srgbClr val="F26B43"/>
          </p15:clr>
        </p15:guide>
        <p15:guide id="8"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69.bin"/><Relationship Id="rId2" Type="http://schemas.openxmlformats.org/officeDocument/2006/relationships/slideLayout" Target="../slideLayouts/slideLayout213.xml"/><Relationship Id="rId1" Type="http://schemas.openxmlformats.org/officeDocument/2006/relationships/tags" Target="../tags/tag362.xml"/><Relationship Id="rId5" Type="http://schemas.openxmlformats.org/officeDocument/2006/relationships/image" Target="../media/image78.jpeg"/><Relationship Id="rId4" Type="http://schemas.openxmlformats.org/officeDocument/2006/relationships/image" Target="../media/image77.emf"/></Relationships>
</file>

<file path=ppt/slides/_rels/slide10.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38.jpeg"/><Relationship Id="rId18" Type="http://schemas.openxmlformats.org/officeDocument/2006/relationships/image" Target="../media/image143.png"/><Relationship Id="rId3" Type="http://schemas.openxmlformats.org/officeDocument/2006/relationships/notesSlide" Target="../notesSlides/notesSlide8.xml"/><Relationship Id="rId7" Type="http://schemas.openxmlformats.org/officeDocument/2006/relationships/image" Target="../media/image116.png"/><Relationship Id="rId12" Type="http://schemas.openxmlformats.org/officeDocument/2006/relationships/image" Target="../media/image137.jpeg"/><Relationship Id="rId17" Type="http://schemas.openxmlformats.org/officeDocument/2006/relationships/image" Target="../media/image142.jpeg"/><Relationship Id="rId2" Type="http://schemas.openxmlformats.org/officeDocument/2006/relationships/slideLayout" Target="../slideLayouts/slideLayout100.xml"/><Relationship Id="rId16" Type="http://schemas.openxmlformats.org/officeDocument/2006/relationships/image" Target="../media/image141.jpeg"/><Relationship Id="rId1" Type="http://schemas.openxmlformats.org/officeDocument/2006/relationships/tags" Target="../tags/tag373.xml"/><Relationship Id="rId6" Type="http://schemas.openxmlformats.org/officeDocument/2006/relationships/image" Target="../media/image133.jpeg"/><Relationship Id="rId11" Type="http://schemas.openxmlformats.org/officeDocument/2006/relationships/image" Target="../media/image136.jpeg"/><Relationship Id="rId5" Type="http://schemas.openxmlformats.org/officeDocument/2006/relationships/image" Target="../media/image125.emf"/><Relationship Id="rId15" Type="http://schemas.openxmlformats.org/officeDocument/2006/relationships/image" Target="../media/image140.jpeg"/><Relationship Id="rId10" Type="http://schemas.openxmlformats.org/officeDocument/2006/relationships/image" Target="../media/image135.jpeg"/><Relationship Id="rId19" Type="http://schemas.microsoft.com/office/2007/relationships/hdphoto" Target="../media/hdphoto1.wdp"/><Relationship Id="rId4" Type="http://schemas.openxmlformats.org/officeDocument/2006/relationships/oleObject" Target="../embeddings/oleObject278.bin"/><Relationship Id="rId9" Type="http://schemas.openxmlformats.org/officeDocument/2006/relationships/image" Target="../media/image134.jpeg"/><Relationship Id="rId14" Type="http://schemas.openxmlformats.org/officeDocument/2006/relationships/image" Target="../media/image139.jpeg"/></Relationships>
</file>

<file path=ppt/slides/_rels/slide11.xml.rels><?xml version="1.0" encoding="UTF-8" standalone="yes"?>
<Relationships xmlns="http://schemas.openxmlformats.org/package/2006/relationships"><Relationship Id="rId8" Type="http://schemas.openxmlformats.org/officeDocument/2006/relationships/image" Target="../media/image146.jpeg"/><Relationship Id="rId13" Type="http://schemas.openxmlformats.org/officeDocument/2006/relationships/image" Target="../media/image113.png"/><Relationship Id="rId3" Type="http://schemas.openxmlformats.org/officeDocument/2006/relationships/notesSlide" Target="../notesSlides/notesSlide9.xml"/><Relationship Id="rId7" Type="http://schemas.openxmlformats.org/officeDocument/2006/relationships/image" Target="../media/image145.png"/><Relationship Id="rId12" Type="http://schemas.openxmlformats.org/officeDocument/2006/relationships/image" Target="../media/image150.jpeg"/><Relationship Id="rId2" Type="http://schemas.openxmlformats.org/officeDocument/2006/relationships/slideLayout" Target="../slideLayouts/slideLayout77.xml"/><Relationship Id="rId1" Type="http://schemas.openxmlformats.org/officeDocument/2006/relationships/tags" Target="../tags/tag374.xml"/><Relationship Id="rId6" Type="http://schemas.openxmlformats.org/officeDocument/2006/relationships/image" Target="../media/image144.jpeg"/><Relationship Id="rId11" Type="http://schemas.openxmlformats.org/officeDocument/2006/relationships/image" Target="../media/image149.jpeg"/><Relationship Id="rId5" Type="http://schemas.openxmlformats.org/officeDocument/2006/relationships/image" Target="../media/image21.emf"/><Relationship Id="rId10" Type="http://schemas.openxmlformats.org/officeDocument/2006/relationships/image" Target="../media/image148.jpeg"/><Relationship Id="rId4" Type="http://schemas.openxmlformats.org/officeDocument/2006/relationships/oleObject" Target="../embeddings/oleObject279.bin"/><Relationship Id="rId9" Type="http://schemas.openxmlformats.org/officeDocument/2006/relationships/image" Target="../media/image147.jpeg"/><Relationship Id="rId14" Type="http://schemas.openxmlformats.org/officeDocument/2006/relationships/image" Target="../media/image151.png"/></Relationships>
</file>

<file path=ppt/slides/_rels/slide12.xml.rels><?xml version="1.0" encoding="UTF-8" standalone="yes"?>
<Relationships xmlns="http://schemas.openxmlformats.org/package/2006/relationships"><Relationship Id="rId8" Type="http://schemas.openxmlformats.org/officeDocument/2006/relationships/image" Target="../media/image154.jpeg"/><Relationship Id="rId13" Type="http://schemas.openxmlformats.org/officeDocument/2006/relationships/image" Target="../media/image159.svg"/><Relationship Id="rId3" Type="http://schemas.openxmlformats.org/officeDocument/2006/relationships/notesSlide" Target="../notesSlides/notesSlide10.xml"/><Relationship Id="rId7" Type="http://schemas.openxmlformats.org/officeDocument/2006/relationships/image" Target="../media/image153.jpeg"/><Relationship Id="rId12" Type="http://schemas.openxmlformats.org/officeDocument/2006/relationships/image" Target="../media/image158.png"/><Relationship Id="rId2" Type="http://schemas.openxmlformats.org/officeDocument/2006/relationships/slideLayout" Target="../slideLayouts/slideLayout30.xml"/><Relationship Id="rId1" Type="http://schemas.openxmlformats.org/officeDocument/2006/relationships/tags" Target="../tags/tag375.xml"/><Relationship Id="rId6" Type="http://schemas.openxmlformats.org/officeDocument/2006/relationships/image" Target="../media/image152.jpeg"/><Relationship Id="rId11" Type="http://schemas.openxmlformats.org/officeDocument/2006/relationships/image" Target="../media/image157.jpeg"/><Relationship Id="rId5" Type="http://schemas.openxmlformats.org/officeDocument/2006/relationships/image" Target="../media/image79.emf"/><Relationship Id="rId15" Type="http://schemas.openxmlformats.org/officeDocument/2006/relationships/image" Target="../media/image120.png"/><Relationship Id="rId10" Type="http://schemas.openxmlformats.org/officeDocument/2006/relationships/image" Target="../media/image156.jpeg"/><Relationship Id="rId4" Type="http://schemas.openxmlformats.org/officeDocument/2006/relationships/oleObject" Target="../embeddings/oleObject280.bin"/><Relationship Id="rId9" Type="http://schemas.openxmlformats.org/officeDocument/2006/relationships/image" Target="../media/image155.jpeg"/><Relationship Id="rId14" Type="http://schemas.openxmlformats.org/officeDocument/2006/relationships/image" Target="../media/image119.png"/></Relationships>
</file>

<file path=ppt/slides/_rels/slide13.xml.rels><?xml version="1.0" encoding="UTF-8" standalone="yes"?>
<Relationships xmlns="http://schemas.openxmlformats.org/package/2006/relationships"><Relationship Id="rId8" Type="http://schemas.openxmlformats.org/officeDocument/2006/relationships/image" Target="../media/image162.png"/><Relationship Id="rId3" Type="http://schemas.openxmlformats.org/officeDocument/2006/relationships/oleObject" Target="../embeddings/oleObject281.bin"/><Relationship Id="rId7" Type="http://schemas.openxmlformats.org/officeDocument/2006/relationships/image" Target="../media/image161.jpeg"/><Relationship Id="rId2" Type="http://schemas.openxmlformats.org/officeDocument/2006/relationships/slideLayout" Target="../slideLayouts/slideLayout30.xml"/><Relationship Id="rId1" Type="http://schemas.openxmlformats.org/officeDocument/2006/relationships/tags" Target="../tags/tag376.xml"/><Relationship Id="rId6" Type="http://schemas.openxmlformats.org/officeDocument/2006/relationships/image" Target="../media/image118.png"/><Relationship Id="rId11" Type="http://schemas.openxmlformats.org/officeDocument/2006/relationships/image" Target="../media/image165.png"/><Relationship Id="rId5" Type="http://schemas.openxmlformats.org/officeDocument/2006/relationships/image" Target="../media/image160.jpeg"/><Relationship Id="rId10" Type="http://schemas.openxmlformats.org/officeDocument/2006/relationships/image" Target="../media/image164.jpeg"/><Relationship Id="rId4" Type="http://schemas.openxmlformats.org/officeDocument/2006/relationships/image" Target="../media/image79.emf"/><Relationship Id="rId9" Type="http://schemas.openxmlformats.org/officeDocument/2006/relationships/image" Target="../media/image163.jpeg"/></Relationships>
</file>

<file path=ppt/slides/_rels/slide14.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image" Target="../media/image171.png"/><Relationship Id="rId18" Type="http://schemas.openxmlformats.org/officeDocument/2006/relationships/image" Target="../media/image176.png"/><Relationship Id="rId3" Type="http://schemas.openxmlformats.org/officeDocument/2006/relationships/video" Target="../media/media1.mp4"/><Relationship Id="rId21" Type="http://schemas.openxmlformats.org/officeDocument/2006/relationships/image" Target="../media/image179.png"/><Relationship Id="rId7" Type="http://schemas.openxmlformats.org/officeDocument/2006/relationships/image" Target="../media/image77.emf"/><Relationship Id="rId12" Type="http://schemas.openxmlformats.org/officeDocument/2006/relationships/image" Target="../media/image170.png"/><Relationship Id="rId17" Type="http://schemas.openxmlformats.org/officeDocument/2006/relationships/image" Target="../media/image175.png"/><Relationship Id="rId2" Type="http://schemas.microsoft.com/office/2007/relationships/media" Target="../media/media1.mp4"/><Relationship Id="rId16" Type="http://schemas.openxmlformats.org/officeDocument/2006/relationships/image" Target="../media/image174.png"/><Relationship Id="rId20" Type="http://schemas.openxmlformats.org/officeDocument/2006/relationships/image" Target="../media/image178.png"/><Relationship Id="rId1" Type="http://schemas.openxmlformats.org/officeDocument/2006/relationships/tags" Target="../tags/tag377.xml"/><Relationship Id="rId6" Type="http://schemas.openxmlformats.org/officeDocument/2006/relationships/oleObject" Target="../embeddings/oleObject282.bin"/><Relationship Id="rId11" Type="http://schemas.openxmlformats.org/officeDocument/2006/relationships/image" Target="../media/image169.png"/><Relationship Id="rId5" Type="http://schemas.openxmlformats.org/officeDocument/2006/relationships/notesSlide" Target="../notesSlides/notesSlide11.xml"/><Relationship Id="rId15" Type="http://schemas.openxmlformats.org/officeDocument/2006/relationships/image" Target="../media/image173.png"/><Relationship Id="rId23" Type="http://schemas.openxmlformats.org/officeDocument/2006/relationships/image" Target="../media/image117.svg"/><Relationship Id="rId10" Type="http://schemas.openxmlformats.org/officeDocument/2006/relationships/image" Target="../media/image168.png"/><Relationship Id="rId19" Type="http://schemas.openxmlformats.org/officeDocument/2006/relationships/image" Target="../media/image177.png"/><Relationship Id="rId4" Type="http://schemas.openxmlformats.org/officeDocument/2006/relationships/slideLayout" Target="../slideLayouts/slideLayout91.xml"/><Relationship Id="rId9" Type="http://schemas.openxmlformats.org/officeDocument/2006/relationships/image" Target="../media/image167.png"/><Relationship Id="rId14" Type="http://schemas.openxmlformats.org/officeDocument/2006/relationships/image" Target="../media/image172.png"/><Relationship Id="rId22" Type="http://schemas.openxmlformats.org/officeDocument/2006/relationships/image" Target="../media/image116.png"/></Relationships>
</file>

<file path=ppt/slides/_rels/slide15.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notesSlide" Target="../notesSlides/notesSlide12.xml"/><Relationship Id="rId7" Type="http://schemas.openxmlformats.org/officeDocument/2006/relationships/image" Target="../media/image181.png"/><Relationship Id="rId2" Type="http://schemas.openxmlformats.org/officeDocument/2006/relationships/slideLayout" Target="../slideLayouts/slideLayout30.xml"/><Relationship Id="rId1" Type="http://schemas.openxmlformats.org/officeDocument/2006/relationships/tags" Target="../tags/tag378.xml"/><Relationship Id="rId6" Type="http://schemas.openxmlformats.org/officeDocument/2006/relationships/image" Target="../media/image180.png"/><Relationship Id="rId5" Type="http://schemas.openxmlformats.org/officeDocument/2006/relationships/image" Target="../media/image21.emf"/><Relationship Id="rId4" Type="http://schemas.openxmlformats.org/officeDocument/2006/relationships/oleObject" Target="../embeddings/oleObject283.bin"/></Relationships>
</file>

<file path=ppt/slides/_rels/slide16.xml.rels><?xml version="1.0" encoding="UTF-8" standalone="yes"?>
<Relationships xmlns="http://schemas.openxmlformats.org/package/2006/relationships"><Relationship Id="rId8" Type="http://schemas.openxmlformats.org/officeDocument/2006/relationships/image" Target="../media/image185.svg"/><Relationship Id="rId13" Type="http://schemas.openxmlformats.org/officeDocument/2006/relationships/image" Target="../media/image190.png"/><Relationship Id="rId18" Type="http://schemas.openxmlformats.org/officeDocument/2006/relationships/image" Target="../media/image195.svg"/><Relationship Id="rId26" Type="http://schemas.openxmlformats.org/officeDocument/2006/relationships/image" Target="../media/image203.svg"/><Relationship Id="rId3" Type="http://schemas.openxmlformats.org/officeDocument/2006/relationships/notesSlide" Target="../notesSlides/notesSlide13.xml"/><Relationship Id="rId21" Type="http://schemas.openxmlformats.org/officeDocument/2006/relationships/image" Target="../media/image198.png"/><Relationship Id="rId7" Type="http://schemas.openxmlformats.org/officeDocument/2006/relationships/image" Target="../media/image184.png"/><Relationship Id="rId12" Type="http://schemas.openxmlformats.org/officeDocument/2006/relationships/image" Target="../media/image189.svg"/><Relationship Id="rId17" Type="http://schemas.openxmlformats.org/officeDocument/2006/relationships/image" Target="../media/image194.png"/><Relationship Id="rId25" Type="http://schemas.openxmlformats.org/officeDocument/2006/relationships/image" Target="../media/image202.png"/><Relationship Id="rId2" Type="http://schemas.openxmlformats.org/officeDocument/2006/relationships/slideLayout" Target="../slideLayouts/slideLayout30.xml"/><Relationship Id="rId16" Type="http://schemas.openxmlformats.org/officeDocument/2006/relationships/image" Target="../media/image193.svg"/><Relationship Id="rId20" Type="http://schemas.openxmlformats.org/officeDocument/2006/relationships/image" Target="../media/image197.svg"/><Relationship Id="rId1" Type="http://schemas.openxmlformats.org/officeDocument/2006/relationships/tags" Target="../tags/tag379.xml"/><Relationship Id="rId6" Type="http://schemas.openxmlformats.org/officeDocument/2006/relationships/image" Target="../media/image183.png"/><Relationship Id="rId11" Type="http://schemas.openxmlformats.org/officeDocument/2006/relationships/image" Target="../media/image188.png"/><Relationship Id="rId24" Type="http://schemas.openxmlformats.org/officeDocument/2006/relationships/image" Target="../media/image201.svg"/><Relationship Id="rId5" Type="http://schemas.openxmlformats.org/officeDocument/2006/relationships/image" Target="../media/image21.emf"/><Relationship Id="rId15" Type="http://schemas.openxmlformats.org/officeDocument/2006/relationships/image" Target="../media/image192.png"/><Relationship Id="rId23" Type="http://schemas.openxmlformats.org/officeDocument/2006/relationships/image" Target="../media/image200.png"/><Relationship Id="rId28" Type="http://schemas.openxmlformats.org/officeDocument/2006/relationships/image" Target="../media/image205.svg"/><Relationship Id="rId10" Type="http://schemas.openxmlformats.org/officeDocument/2006/relationships/image" Target="../media/image187.svg"/><Relationship Id="rId19" Type="http://schemas.openxmlformats.org/officeDocument/2006/relationships/image" Target="../media/image196.png"/><Relationship Id="rId4" Type="http://schemas.openxmlformats.org/officeDocument/2006/relationships/oleObject" Target="../embeddings/oleObject284.bin"/><Relationship Id="rId9" Type="http://schemas.openxmlformats.org/officeDocument/2006/relationships/image" Target="../media/image186.png"/><Relationship Id="rId14" Type="http://schemas.openxmlformats.org/officeDocument/2006/relationships/image" Target="../media/image191.svg"/><Relationship Id="rId22" Type="http://schemas.openxmlformats.org/officeDocument/2006/relationships/image" Target="../media/image199.svg"/><Relationship Id="rId27" Type="http://schemas.openxmlformats.org/officeDocument/2006/relationships/image" Target="../media/image204.png"/></Relationships>
</file>

<file path=ppt/slides/_rels/slide17.xml.rels><?xml version="1.0" encoding="UTF-8" standalone="yes"?>
<Relationships xmlns="http://schemas.openxmlformats.org/package/2006/relationships"><Relationship Id="rId8" Type="http://schemas.openxmlformats.org/officeDocument/2006/relationships/image" Target="../media/image207.png"/><Relationship Id="rId13" Type="http://schemas.openxmlformats.org/officeDocument/2006/relationships/image" Target="../media/image212.png"/><Relationship Id="rId18" Type="http://schemas.openxmlformats.org/officeDocument/2006/relationships/image" Target="../media/image217.jpeg"/><Relationship Id="rId3" Type="http://schemas.openxmlformats.org/officeDocument/2006/relationships/slideLayout" Target="../slideLayouts/slideLayout78.xml"/><Relationship Id="rId21" Type="http://schemas.openxmlformats.org/officeDocument/2006/relationships/image" Target="../media/image220.jpeg"/><Relationship Id="rId7" Type="http://schemas.openxmlformats.org/officeDocument/2006/relationships/image" Target="../media/image206.png"/><Relationship Id="rId12" Type="http://schemas.openxmlformats.org/officeDocument/2006/relationships/image" Target="../media/image211.png"/><Relationship Id="rId17" Type="http://schemas.openxmlformats.org/officeDocument/2006/relationships/image" Target="../media/image216.png"/><Relationship Id="rId2" Type="http://schemas.openxmlformats.org/officeDocument/2006/relationships/tags" Target="../tags/tag381.xml"/><Relationship Id="rId16" Type="http://schemas.openxmlformats.org/officeDocument/2006/relationships/image" Target="../media/image215.png"/><Relationship Id="rId20" Type="http://schemas.openxmlformats.org/officeDocument/2006/relationships/image" Target="../media/image219.jpeg"/><Relationship Id="rId1" Type="http://schemas.openxmlformats.org/officeDocument/2006/relationships/tags" Target="../tags/tag380.xml"/><Relationship Id="rId6" Type="http://schemas.openxmlformats.org/officeDocument/2006/relationships/image" Target="../media/image21.emf"/><Relationship Id="rId11" Type="http://schemas.openxmlformats.org/officeDocument/2006/relationships/image" Target="../media/image210.png"/><Relationship Id="rId5" Type="http://schemas.openxmlformats.org/officeDocument/2006/relationships/oleObject" Target="../embeddings/oleObject285.bin"/><Relationship Id="rId15" Type="http://schemas.openxmlformats.org/officeDocument/2006/relationships/image" Target="../media/image214.png"/><Relationship Id="rId10" Type="http://schemas.openxmlformats.org/officeDocument/2006/relationships/image" Target="../media/image209.png"/><Relationship Id="rId19" Type="http://schemas.openxmlformats.org/officeDocument/2006/relationships/image" Target="../media/image218.jpeg"/><Relationship Id="rId4" Type="http://schemas.openxmlformats.org/officeDocument/2006/relationships/notesSlide" Target="../notesSlides/notesSlide14.xml"/><Relationship Id="rId9" Type="http://schemas.openxmlformats.org/officeDocument/2006/relationships/image" Target="../media/image208.png"/><Relationship Id="rId14" Type="http://schemas.openxmlformats.org/officeDocument/2006/relationships/image" Target="../media/image213.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86.bin"/><Relationship Id="rId2" Type="http://schemas.openxmlformats.org/officeDocument/2006/relationships/slideLayout" Target="../slideLayouts/slideLayout213.xml"/><Relationship Id="rId1" Type="http://schemas.openxmlformats.org/officeDocument/2006/relationships/tags" Target="../tags/tag382.xml"/><Relationship Id="rId5" Type="http://schemas.openxmlformats.org/officeDocument/2006/relationships/image" Target="../media/image78.jpeg"/><Relationship Id="rId4" Type="http://schemas.openxmlformats.org/officeDocument/2006/relationships/image" Target="../media/image77.emf"/></Relationships>
</file>

<file path=ppt/slides/_rels/slide19.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notesSlide" Target="../notesSlides/notesSlide15.xml"/><Relationship Id="rId7" Type="http://schemas.openxmlformats.org/officeDocument/2006/relationships/image" Target="../media/image116.png"/><Relationship Id="rId2" Type="http://schemas.openxmlformats.org/officeDocument/2006/relationships/slideLayout" Target="../slideLayouts/slideLayout96.xml"/><Relationship Id="rId1" Type="http://schemas.openxmlformats.org/officeDocument/2006/relationships/tags" Target="../tags/tag383.xml"/><Relationship Id="rId6" Type="http://schemas.openxmlformats.org/officeDocument/2006/relationships/image" Target="../media/image114.jpeg"/><Relationship Id="rId5" Type="http://schemas.openxmlformats.org/officeDocument/2006/relationships/image" Target="../media/image92.emf"/><Relationship Id="rId4" Type="http://schemas.openxmlformats.org/officeDocument/2006/relationships/oleObject" Target="../embeddings/oleObject287.bin"/></Relationships>
</file>

<file path=ppt/slides/_rels/slide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30.xml"/><Relationship Id="rId1" Type="http://schemas.openxmlformats.org/officeDocument/2006/relationships/tags" Target="../tags/tag363.xml"/><Relationship Id="rId6" Type="http://schemas.openxmlformats.org/officeDocument/2006/relationships/image" Target="../media/image80.jpeg"/><Relationship Id="rId5" Type="http://schemas.openxmlformats.org/officeDocument/2006/relationships/image" Target="../media/image79.emf"/><Relationship Id="rId4" Type="http://schemas.openxmlformats.org/officeDocument/2006/relationships/oleObject" Target="../embeddings/oleObject270.bin"/></Relationships>
</file>

<file path=ppt/slides/_rels/slide20.xml.rels><?xml version="1.0" encoding="UTF-8" standalone="yes"?>
<Relationships xmlns="http://schemas.openxmlformats.org/package/2006/relationships"><Relationship Id="rId3" Type="http://schemas.openxmlformats.org/officeDocument/2006/relationships/image" Target="../media/image221.jpeg"/><Relationship Id="rId2" Type="http://schemas.openxmlformats.org/officeDocument/2006/relationships/notesSlide" Target="../notesSlides/notesSlide16.xml"/><Relationship Id="rId1" Type="http://schemas.openxmlformats.org/officeDocument/2006/relationships/slideLayout" Target="../slideLayouts/slideLayout96.xml"/><Relationship Id="rId6" Type="http://schemas.openxmlformats.org/officeDocument/2006/relationships/image" Target="../media/image224.jpeg"/><Relationship Id="rId5" Type="http://schemas.openxmlformats.org/officeDocument/2006/relationships/image" Target="../media/image223.jpeg"/><Relationship Id="rId4" Type="http://schemas.openxmlformats.org/officeDocument/2006/relationships/image" Target="../media/image222.jpeg"/></Relationships>
</file>

<file path=ppt/slides/_rels/slide21.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3" Type="http://schemas.openxmlformats.org/officeDocument/2006/relationships/image" Target="../media/image225.png"/><Relationship Id="rId7" Type="http://schemas.openxmlformats.org/officeDocument/2006/relationships/image" Target="../media/image229.png"/><Relationship Id="rId12" Type="http://schemas.openxmlformats.org/officeDocument/2006/relationships/image" Target="../media/image234.svg"/><Relationship Id="rId2" Type="http://schemas.openxmlformats.org/officeDocument/2006/relationships/notesSlide" Target="../notesSlides/notesSlide17.xml"/><Relationship Id="rId1" Type="http://schemas.openxmlformats.org/officeDocument/2006/relationships/slideLayout" Target="../slideLayouts/slideLayout96.xml"/><Relationship Id="rId6" Type="http://schemas.openxmlformats.org/officeDocument/2006/relationships/image" Target="../media/image228.jpeg"/><Relationship Id="rId11" Type="http://schemas.openxmlformats.org/officeDocument/2006/relationships/image" Target="../media/image233.png"/><Relationship Id="rId5" Type="http://schemas.openxmlformats.org/officeDocument/2006/relationships/image" Target="../media/image227.jpeg"/><Relationship Id="rId10" Type="http://schemas.openxmlformats.org/officeDocument/2006/relationships/image" Target="../media/image232.svg"/><Relationship Id="rId4" Type="http://schemas.openxmlformats.org/officeDocument/2006/relationships/image" Target="../media/image226.jpeg"/><Relationship Id="rId9" Type="http://schemas.openxmlformats.org/officeDocument/2006/relationships/image" Target="../media/image231.png"/><Relationship Id="rId14" Type="http://schemas.openxmlformats.org/officeDocument/2006/relationships/image" Target="../media/image236.svg"/></Relationships>
</file>

<file path=ppt/slides/_rels/slide22.xml.rels><?xml version="1.0" encoding="UTF-8" standalone="yes"?>
<Relationships xmlns="http://schemas.openxmlformats.org/package/2006/relationships"><Relationship Id="rId8" Type="http://schemas.openxmlformats.org/officeDocument/2006/relationships/image" Target="../media/image240.svg"/><Relationship Id="rId3" Type="http://schemas.openxmlformats.org/officeDocument/2006/relationships/notesSlide" Target="../notesSlides/notesSlide18.xml"/><Relationship Id="rId7" Type="http://schemas.openxmlformats.org/officeDocument/2006/relationships/image" Target="../media/image239.png"/><Relationship Id="rId12" Type="http://schemas.openxmlformats.org/officeDocument/2006/relationships/image" Target="../media/image244.svg"/><Relationship Id="rId2" Type="http://schemas.openxmlformats.org/officeDocument/2006/relationships/slideLayout" Target="../slideLayouts/slideLayout96.xml"/><Relationship Id="rId1" Type="http://schemas.openxmlformats.org/officeDocument/2006/relationships/tags" Target="../tags/tag384.xml"/><Relationship Id="rId6" Type="http://schemas.openxmlformats.org/officeDocument/2006/relationships/image" Target="../media/image238.svg"/><Relationship Id="rId11" Type="http://schemas.openxmlformats.org/officeDocument/2006/relationships/image" Target="../media/image243.png"/><Relationship Id="rId5" Type="http://schemas.openxmlformats.org/officeDocument/2006/relationships/image" Target="../media/image237.png"/><Relationship Id="rId10" Type="http://schemas.openxmlformats.org/officeDocument/2006/relationships/image" Target="../media/image242.svg"/><Relationship Id="rId4" Type="http://schemas.openxmlformats.org/officeDocument/2006/relationships/image" Target="../media/image39.jpeg"/><Relationship Id="rId9" Type="http://schemas.openxmlformats.org/officeDocument/2006/relationships/image" Target="../media/image241.png"/></Relationships>
</file>

<file path=ppt/slides/_rels/slide2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19.xml"/><Relationship Id="rId1" Type="http://schemas.openxmlformats.org/officeDocument/2006/relationships/slideLayout" Target="../slideLayouts/slideLayout298.xml"/></Relationships>
</file>

<file path=ppt/slides/_rels/slide24.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20.xml"/><Relationship Id="rId1" Type="http://schemas.openxmlformats.org/officeDocument/2006/relationships/slideLayout" Target="../slideLayouts/slideLayout96.xml"/></Relationships>
</file>

<file path=ppt/slides/_rels/slide25.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notesSlide" Target="../notesSlides/notesSlide21.xml"/><Relationship Id="rId7" Type="http://schemas.openxmlformats.org/officeDocument/2006/relationships/image" Target="../media/image116.png"/><Relationship Id="rId2" Type="http://schemas.openxmlformats.org/officeDocument/2006/relationships/slideLayout" Target="../slideLayouts/slideLayout96.xml"/><Relationship Id="rId1" Type="http://schemas.openxmlformats.org/officeDocument/2006/relationships/tags" Target="../tags/tag385.xml"/><Relationship Id="rId6" Type="http://schemas.openxmlformats.org/officeDocument/2006/relationships/image" Target="../media/image114.jpeg"/><Relationship Id="rId5" Type="http://schemas.openxmlformats.org/officeDocument/2006/relationships/image" Target="../media/image92.emf"/><Relationship Id="rId4" Type="http://schemas.openxmlformats.org/officeDocument/2006/relationships/oleObject" Target="../embeddings/oleObject288.bin"/></Relationships>
</file>

<file path=ppt/slides/_rels/slide26.xml.rels><?xml version="1.0" encoding="UTF-8" standalone="yes"?>
<Relationships xmlns="http://schemas.openxmlformats.org/package/2006/relationships"><Relationship Id="rId3" Type="http://schemas.openxmlformats.org/officeDocument/2006/relationships/image" Target="../media/image248.jpeg"/><Relationship Id="rId2" Type="http://schemas.openxmlformats.org/officeDocument/2006/relationships/image" Target="../media/image247.jpeg"/><Relationship Id="rId1" Type="http://schemas.openxmlformats.org/officeDocument/2006/relationships/slideLayout" Target="../slideLayouts/slideLayout9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6.xml"/><Relationship Id="rId1" Type="http://schemas.openxmlformats.org/officeDocument/2006/relationships/tags" Target="../tags/tag386.xml"/><Relationship Id="rId4" Type="http://schemas.openxmlformats.org/officeDocument/2006/relationships/image" Target="../media/image249.jpeg"/></Relationships>
</file>

<file path=ppt/slides/_rels/slide28.xml.rels><?xml version="1.0" encoding="UTF-8" standalone="yes"?>
<Relationships xmlns="http://schemas.openxmlformats.org/package/2006/relationships"><Relationship Id="rId2" Type="http://schemas.openxmlformats.org/officeDocument/2006/relationships/image" Target="../media/image250.png"/><Relationship Id="rId1" Type="http://schemas.openxmlformats.org/officeDocument/2006/relationships/slideLayout" Target="../slideLayouts/slideLayout9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96.xml"/><Relationship Id="rId1" Type="http://schemas.openxmlformats.org/officeDocument/2006/relationships/tags" Target="../tags/tag387.xml"/><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8" Type="http://schemas.openxmlformats.org/officeDocument/2006/relationships/image" Target="../media/image84.jpeg"/><Relationship Id="rId13" Type="http://schemas.openxmlformats.org/officeDocument/2006/relationships/image" Target="../media/image89.jpeg"/><Relationship Id="rId3" Type="http://schemas.openxmlformats.org/officeDocument/2006/relationships/notesSlide" Target="../notesSlides/notesSlide2.xml"/><Relationship Id="rId7" Type="http://schemas.openxmlformats.org/officeDocument/2006/relationships/image" Target="../media/image83.jpeg"/><Relationship Id="rId12" Type="http://schemas.openxmlformats.org/officeDocument/2006/relationships/image" Target="../media/image88.jpeg"/><Relationship Id="rId2" Type="http://schemas.openxmlformats.org/officeDocument/2006/relationships/slideLayout" Target="../slideLayouts/slideLayout101.xml"/><Relationship Id="rId1" Type="http://schemas.openxmlformats.org/officeDocument/2006/relationships/tags" Target="../tags/tag364.xml"/><Relationship Id="rId6" Type="http://schemas.openxmlformats.org/officeDocument/2006/relationships/image" Target="../media/image82.png"/><Relationship Id="rId11" Type="http://schemas.openxmlformats.org/officeDocument/2006/relationships/image" Target="../media/image87.jpeg"/><Relationship Id="rId5" Type="http://schemas.openxmlformats.org/officeDocument/2006/relationships/image" Target="../media/image81.emf"/><Relationship Id="rId15" Type="http://schemas.openxmlformats.org/officeDocument/2006/relationships/image" Target="../media/image91.jpeg"/><Relationship Id="rId10" Type="http://schemas.openxmlformats.org/officeDocument/2006/relationships/image" Target="../media/image86.png"/><Relationship Id="rId4" Type="http://schemas.openxmlformats.org/officeDocument/2006/relationships/oleObject" Target="../embeddings/oleObject271.bin"/><Relationship Id="rId9" Type="http://schemas.openxmlformats.org/officeDocument/2006/relationships/image" Target="../media/image85.jpeg"/><Relationship Id="rId14" Type="http://schemas.openxmlformats.org/officeDocument/2006/relationships/image" Target="../media/image90.jpe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253.svg"/><Relationship Id="rId2" Type="http://schemas.openxmlformats.org/officeDocument/2006/relationships/slideLayout" Target="../slideLayouts/slideLayout96.xml"/><Relationship Id="rId1" Type="http://schemas.openxmlformats.org/officeDocument/2006/relationships/tags" Target="../tags/tag388.xml"/><Relationship Id="rId6" Type="http://schemas.openxmlformats.org/officeDocument/2006/relationships/image" Target="../media/image252.png"/><Relationship Id="rId5" Type="http://schemas.openxmlformats.org/officeDocument/2006/relationships/image" Target="../media/image251.png"/><Relationship Id="rId4" Type="http://schemas.openxmlformats.org/officeDocument/2006/relationships/image" Target="../media/image39.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94.jpeg"/><Relationship Id="rId2" Type="http://schemas.openxmlformats.org/officeDocument/2006/relationships/slideLayout" Target="../slideLayouts/slideLayout213.xml"/><Relationship Id="rId1" Type="http://schemas.openxmlformats.org/officeDocument/2006/relationships/tags" Target="../tags/tag365.xml"/><Relationship Id="rId6" Type="http://schemas.openxmlformats.org/officeDocument/2006/relationships/image" Target="../media/image93.jpeg"/><Relationship Id="rId5" Type="http://schemas.openxmlformats.org/officeDocument/2006/relationships/image" Target="../media/image92.emf"/><Relationship Id="rId4" Type="http://schemas.openxmlformats.org/officeDocument/2006/relationships/oleObject" Target="../embeddings/oleObject272.bin"/></Relationships>
</file>

<file path=ppt/slides/_rels/slide5.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238.xml"/><Relationship Id="rId7" Type="http://schemas.openxmlformats.org/officeDocument/2006/relationships/image" Target="../media/image96.png"/><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95.jpeg"/><Relationship Id="rId5" Type="http://schemas.openxmlformats.org/officeDocument/2006/relationships/image" Target="../media/image21.emf"/><Relationship Id="rId10" Type="http://schemas.openxmlformats.org/officeDocument/2006/relationships/image" Target="../media/image99.jpeg"/><Relationship Id="rId4" Type="http://schemas.openxmlformats.org/officeDocument/2006/relationships/oleObject" Target="../embeddings/oleObject273.bin"/><Relationship Id="rId9" Type="http://schemas.openxmlformats.org/officeDocument/2006/relationships/image" Target="../media/image98.jpe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103.svg"/><Relationship Id="rId18" Type="http://schemas.openxmlformats.org/officeDocument/2006/relationships/image" Target="../media/image108.png"/><Relationship Id="rId3" Type="http://schemas.openxmlformats.org/officeDocument/2006/relationships/slideLayout" Target="../slideLayouts/slideLayout78.xml"/><Relationship Id="rId21" Type="http://schemas.openxmlformats.org/officeDocument/2006/relationships/image" Target="../media/image111.png"/><Relationship Id="rId7" Type="http://schemas.openxmlformats.org/officeDocument/2006/relationships/image" Target="../media/image78.jpeg"/><Relationship Id="rId12" Type="http://schemas.openxmlformats.org/officeDocument/2006/relationships/image" Target="../media/image102.png"/><Relationship Id="rId17" Type="http://schemas.openxmlformats.org/officeDocument/2006/relationships/image" Target="../media/image107.png"/><Relationship Id="rId2" Type="http://schemas.openxmlformats.org/officeDocument/2006/relationships/tags" Target="../tags/tag369.xml"/><Relationship Id="rId16" Type="http://schemas.openxmlformats.org/officeDocument/2006/relationships/image" Target="../media/image106.png"/><Relationship Id="rId20" Type="http://schemas.openxmlformats.org/officeDocument/2006/relationships/image" Target="../media/image110.png"/><Relationship Id="rId1" Type="http://schemas.openxmlformats.org/officeDocument/2006/relationships/tags" Target="../tags/tag368.xml"/><Relationship Id="rId6" Type="http://schemas.openxmlformats.org/officeDocument/2006/relationships/image" Target="../media/image21.emf"/><Relationship Id="rId11" Type="http://schemas.openxmlformats.org/officeDocument/2006/relationships/image" Target="../media/image101.svg"/><Relationship Id="rId5" Type="http://schemas.openxmlformats.org/officeDocument/2006/relationships/oleObject" Target="../embeddings/oleObject274.bin"/><Relationship Id="rId15" Type="http://schemas.openxmlformats.org/officeDocument/2006/relationships/image" Target="../media/image105.png"/><Relationship Id="rId23" Type="http://schemas.openxmlformats.org/officeDocument/2006/relationships/image" Target="../media/image113.png"/><Relationship Id="rId10" Type="http://schemas.openxmlformats.org/officeDocument/2006/relationships/image" Target="../media/image100.png"/><Relationship Id="rId19" Type="http://schemas.openxmlformats.org/officeDocument/2006/relationships/image" Target="../media/image109.jpeg"/><Relationship Id="rId4" Type="http://schemas.openxmlformats.org/officeDocument/2006/relationships/notesSlide" Target="../notesSlides/notesSlide4.xml"/><Relationship Id="rId9" Type="http://schemas.openxmlformats.org/officeDocument/2006/relationships/image" Target="../media/image37.svg"/><Relationship Id="rId14" Type="http://schemas.openxmlformats.org/officeDocument/2006/relationships/image" Target="../media/image104.png"/><Relationship Id="rId22" Type="http://schemas.openxmlformats.org/officeDocument/2006/relationships/image" Target="../media/image112.png"/></Relationships>
</file>

<file path=ppt/slides/_rels/slide7.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3" Type="http://schemas.openxmlformats.org/officeDocument/2006/relationships/notesSlide" Target="../notesSlides/notesSlide5.xml"/><Relationship Id="rId7" Type="http://schemas.openxmlformats.org/officeDocument/2006/relationships/image" Target="../media/image115.png"/><Relationship Id="rId12" Type="http://schemas.openxmlformats.org/officeDocument/2006/relationships/image" Target="../media/image120.png"/><Relationship Id="rId2" Type="http://schemas.openxmlformats.org/officeDocument/2006/relationships/slideLayout" Target="../slideLayouts/slideLayout96.xml"/><Relationship Id="rId1" Type="http://schemas.openxmlformats.org/officeDocument/2006/relationships/tags" Target="../tags/tag370.xml"/><Relationship Id="rId6" Type="http://schemas.openxmlformats.org/officeDocument/2006/relationships/image" Target="../media/image114.jpeg"/><Relationship Id="rId11" Type="http://schemas.openxmlformats.org/officeDocument/2006/relationships/image" Target="../media/image119.png"/><Relationship Id="rId5" Type="http://schemas.openxmlformats.org/officeDocument/2006/relationships/image" Target="../media/image92.emf"/><Relationship Id="rId10" Type="http://schemas.openxmlformats.org/officeDocument/2006/relationships/image" Target="../media/image118.png"/><Relationship Id="rId4" Type="http://schemas.openxmlformats.org/officeDocument/2006/relationships/oleObject" Target="../embeddings/oleObject275.bin"/><Relationship Id="rId9" Type="http://schemas.openxmlformats.org/officeDocument/2006/relationships/image" Target="../media/image117.svg"/></Relationships>
</file>

<file path=ppt/slides/_rels/slide8.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notesSlide" Target="../notesSlides/notesSlide6.xml"/><Relationship Id="rId7" Type="http://schemas.openxmlformats.org/officeDocument/2006/relationships/image" Target="../media/image118.png"/><Relationship Id="rId2" Type="http://schemas.openxmlformats.org/officeDocument/2006/relationships/slideLayout" Target="../slideLayouts/slideLayout30.xml"/><Relationship Id="rId1" Type="http://schemas.openxmlformats.org/officeDocument/2006/relationships/tags" Target="../tags/tag371.xml"/><Relationship Id="rId6" Type="http://schemas.openxmlformats.org/officeDocument/2006/relationships/image" Target="../media/image123.png"/><Relationship Id="rId5" Type="http://schemas.openxmlformats.org/officeDocument/2006/relationships/image" Target="../media/image122.emf"/><Relationship Id="rId10" Type="http://schemas.openxmlformats.org/officeDocument/2006/relationships/image" Target="../media/image124.png"/><Relationship Id="rId4" Type="http://schemas.openxmlformats.org/officeDocument/2006/relationships/oleObject" Target="../embeddings/oleObject276.bin"/><Relationship Id="rId9" Type="http://schemas.openxmlformats.org/officeDocument/2006/relationships/image" Target="../media/image120.png"/></Relationships>
</file>

<file path=ppt/slides/_rels/slide9.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32.png"/><Relationship Id="rId3" Type="http://schemas.openxmlformats.org/officeDocument/2006/relationships/notesSlide" Target="../notesSlides/notesSlide7.xml"/><Relationship Id="rId7" Type="http://schemas.openxmlformats.org/officeDocument/2006/relationships/image" Target="../media/image127.png"/><Relationship Id="rId12" Type="http://schemas.openxmlformats.org/officeDocument/2006/relationships/image" Target="../media/image131.png"/><Relationship Id="rId2" Type="http://schemas.openxmlformats.org/officeDocument/2006/relationships/slideLayout" Target="../slideLayouts/slideLayout102.xml"/><Relationship Id="rId1" Type="http://schemas.openxmlformats.org/officeDocument/2006/relationships/tags" Target="../tags/tag372.xml"/><Relationship Id="rId6" Type="http://schemas.openxmlformats.org/officeDocument/2006/relationships/image" Target="../media/image126.jpeg"/><Relationship Id="rId11" Type="http://schemas.openxmlformats.org/officeDocument/2006/relationships/image" Target="../media/image130.svg"/><Relationship Id="rId5" Type="http://schemas.openxmlformats.org/officeDocument/2006/relationships/image" Target="../media/image125.emf"/><Relationship Id="rId10" Type="http://schemas.openxmlformats.org/officeDocument/2006/relationships/image" Target="../media/image129.png"/><Relationship Id="rId4" Type="http://schemas.openxmlformats.org/officeDocument/2006/relationships/oleObject" Target="../embeddings/oleObject277.bin"/><Relationship Id="rId9" Type="http://schemas.openxmlformats.org/officeDocument/2006/relationships/image" Target="../media/image12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1600" b="0" i="0" u="none" strike="noStrike" kern="1200" cap="none" spc="0" normalizeH="0" baseline="0" noProof="0">
                <a:ln>
                  <a:noFill/>
                </a:ln>
                <a:solidFill>
                  <a:srgbClr val="FFFFFF"/>
                </a:solidFill>
                <a:effectLst/>
                <a:uLnTx/>
                <a:uFillTx/>
                <a:latin typeface="COOP"/>
                <a:ea typeface="+mn-ea"/>
                <a:cs typeface="+mn-cs"/>
              </a:rPr>
              <a:t>2027 COOP STRATEGI</a:t>
            </a:r>
            <a:br>
              <a:rPr kumimoji="0" lang="da-DK" sz="9600" b="1" i="0" u="none" strike="noStrike" kern="1200" cap="none" spc="0" normalizeH="0" baseline="0" noProof="0">
                <a:ln>
                  <a:noFill/>
                </a:ln>
                <a:solidFill>
                  <a:srgbClr val="FFFFFF"/>
                </a:solidFill>
                <a:effectLst/>
                <a:uLnTx/>
                <a:uFillTx/>
                <a:latin typeface="COOP"/>
                <a:ea typeface="+mn-ea"/>
                <a:cs typeface="+mn-cs"/>
              </a:rPr>
            </a:br>
            <a:r>
              <a:rPr kumimoji="0" lang="da-DK" sz="6600" b="1" i="0" u="none" strike="noStrike" kern="1200" cap="none" spc="0" normalizeH="0" baseline="0" noProof="0">
                <a:ln>
                  <a:noFill/>
                </a:ln>
                <a:solidFill>
                  <a:srgbClr val="FFFFFF"/>
                </a:solidFill>
                <a:effectLst/>
                <a:uLnTx/>
                <a:uFillTx/>
                <a:latin typeface="COOP"/>
                <a:ea typeface="+mn-ea"/>
                <a:cs typeface="+mn-cs"/>
              </a:rPr>
              <a:t>FREMTIDENS COOP</a:t>
            </a:r>
            <a:endParaRPr kumimoji="0" lang="da-DK" sz="4000" b="1" i="0" u="none" strike="noStrike" kern="1200" cap="none" spc="0" normalizeH="0" baseline="0" noProof="0">
              <a:ln>
                <a:noFill/>
              </a:ln>
              <a:solidFill>
                <a:srgbClr val="FFFFFF"/>
              </a:solidFill>
              <a:effectLst/>
              <a:uLnTx/>
              <a:uFillTx/>
              <a:latin typeface="COOP"/>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0" i="0" u="none" strike="noStrike" kern="1200" cap="none" spc="0" normalizeH="0" baseline="0" noProof="0">
                <a:ln>
                  <a:noFill/>
                </a:ln>
                <a:solidFill>
                  <a:srgbClr val="FFFFFF"/>
                </a:solidFill>
                <a:effectLst/>
                <a:uLnTx/>
                <a:uFillTx/>
                <a:latin typeface="COOP"/>
                <a:ea typeface="+mn-ea"/>
                <a:cs typeface="+mn-cs"/>
              </a:rPr>
              <a:t>Et enkelt, effektivt og vindende COOP</a:t>
            </a:r>
          </a:p>
        </p:txBody>
      </p:sp>
    </p:spTree>
    <p:extLst>
      <p:ext uri="{BB962C8B-B14F-4D97-AF65-F5344CB8AC3E}">
        <p14:creationId xmlns:p14="http://schemas.microsoft.com/office/powerpoint/2010/main" val="329969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60603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descr="A bowl of food next to a piece of bread&#10;&#10;Description automatically generated">
            <a:extLst>
              <a:ext uri="{FF2B5EF4-FFF2-40B4-BE49-F238E27FC236}">
                <a16:creationId xmlns:a16="http://schemas.microsoft.com/office/drawing/2014/main" id="{F1B4A076-E024-4B8D-BE92-6421EF705AEA}"/>
              </a:ext>
            </a:extLst>
          </p:cNvPr>
          <p:cNvPicPr>
            <a:picLocks noChangeAspect="1"/>
          </p:cNvPicPr>
          <p:nvPr/>
        </p:nvPicPr>
        <p:blipFill>
          <a:blip r:embed="rId6"/>
          <a:stretch>
            <a:fillRect/>
          </a:stretch>
        </p:blipFill>
        <p:spPr>
          <a:xfrm rot="10800000">
            <a:off x="3402603" y="865921"/>
            <a:ext cx="2702946" cy="2621858"/>
          </a:xfrm>
          <a:prstGeom prst="rect">
            <a:avLst/>
          </a:prstGeom>
        </p:spPr>
      </p:pic>
      <p:sp>
        <p:nvSpPr>
          <p:cNvPr id="30" name="Rectangle 29">
            <a:extLst>
              <a:ext uri="{FF2B5EF4-FFF2-40B4-BE49-F238E27FC236}">
                <a16:creationId xmlns:a16="http://schemas.microsoft.com/office/drawing/2014/main" id="{C7983ABC-A25E-4CE1-B112-1F226E98404C}"/>
              </a:ext>
            </a:extLst>
          </p:cNvPr>
          <p:cNvSpPr/>
          <p:nvPr/>
        </p:nvSpPr>
        <p:spPr>
          <a:xfrm>
            <a:off x="5651502" y="6550905"/>
            <a:ext cx="1239492" cy="198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67">
            <a:extLst>
              <a:ext uri="{FF2B5EF4-FFF2-40B4-BE49-F238E27FC236}">
                <a16:creationId xmlns:a16="http://schemas.microsoft.com/office/drawing/2014/main" id="{72A0F4F1-8D29-4C64-984F-9A0E00F78B3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60883" y="6550905"/>
            <a:ext cx="692014" cy="198770"/>
          </a:xfrm>
          <a:prstGeom prst="rect">
            <a:avLst/>
          </a:prstGeom>
        </p:spPr>
      </p:pic>
      <p:sp>
        <p:nvSpPr>
          <p:cNvPr id="3" name="Slide Number Placeholder 2">
            <a:extLst>
              <a:ext uri="{FF2B5EF4-FFF2-40B4-BE49-F238E27FC236}">
                <a16:creationId xmlns:a16="http://schemas.microsoft.com/office/drawing/2014/main" id="{79B4084E-B445-4A31-9A4C-22BEF90D1409}"/>
              </a:ext>
            </a:extLst>
          </p:cNvPr>
          <p:cNvSpPr>
            <a:spLocks noGrp="1"/>
          </p:cNvSpPr>
          <p:nvPr>
            <p:ph type="sldNum" sz="quarter" idx="11"/>
          </p:nvPr>
        </p:nvSpPr>
        <p:spPr/>
        <p:txBody>
          <a:bodyPr/>
          <a:lstStyle/>
          <a:p>
            <a:fld id="{8873C856-2D42-774B-9F3D-A3E810E10692}" type="slidenum">
              <a:rPr lang="en-GB" smtClean="0"/>
              <a:t>10</a:t>
            </a:fld>
            <a:endParaRPr lang="en-GB"/>
          </a:p>
        </p:txBody>
      </p:sp>
      <p:pic>
        <p:nvPicPr>
          <p:cNvPr id="36" name="Picture 35" descr="A pie with berries on top&#10;&#10;Description automatically generated">
            <a:extLst>
              <a:ext uri="{FF2B5EF4-FFF2-40B4-BE49-F238E27FC236}">
                <a16:creationId xmlns:a16="http://schemas.microsoft.com/office/drawing/2014/main" id="{5FB7AFA4-D094-4259-8F58-A8A805471C9C}"/>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97983" y="2548406"/>
            <a:ext cx="1761188" cy="1761188"/>
          </a:xfrm>
          <a:prstGeom prst="rect">
            <a:avLst/>
          </a:prstGeom>
        </p:spPr>
      </p:pic>
      <p:pic>
        <p:nvPicPr>
          <p:cNvPr id="40" name="Picture 39" descr="A group of chocolates and chocolate candies&#10;&#10;Description automatically generated">
            <a:extLst>
              <a:ext uri="{FF2B5EF4-FFF2-40B4-BE49-F238E27FC236}">
                <a16:creationId xmlns:a16="http://schemas.microsoft.com/office/drawing/2014/main" id="{45A6AB52-CA00-4688-B866-BF8EA03A2A2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34" y="0"/>
            <a:ext cx="6598746" cy="6851186"/>
          </a:xfrm>
          <a:prstGeom prst="rect">
            <a:avLst/>
          </a:prstGeom>
        </p:spPr>
      </p:pic>
      <p:pic>
        <p:nvPicPr>
          <p:cNvPr id="46" name="Picture 45" descr="A chocolate bar with a broken bar&#10;&#10;Description automatically generated with medium confidence">
            <a:extLst>
              <a:ext uri="{FF2B5EF4-FFF2-40B4-BE49-F238E27FC236}">
                <a16:creationId xmlns:a16="http://schemas.microsoft.com/office/drawing/2014/main" id="{6F2B3DD3-BAFB-48B8-9E34-FFE3628089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V="1">
            <a:off x="8473579" y="6813"/>
            <a:ext cx="3717083" cy="4753873"/>
          </a:xfrm>
          <a:prstGeom prst="rect">
            <a:avLst/>
          </a:prstGeom>
        </p:spPr>
      </p:pic>
      <p:pic>
        <p:nvPicPr>
          <p:cNvPr id="15" name="Picture 14" descr="A chocolate bar with a white label&#10;&#10;Description automatically generated">
            <a:extLst>
              <a:ext uri="{FF2B5EF4-FFF2-40B4-BE49-F238E27FC236}">
                <a16:creationId xmlns:a16="http://schemas.microsoft.com/office/drawing/2014/main" id="{779AC68B-36E4-475F-8C31-18675D1A9CBD}"/>
              </a:ext>
            </a:extLst>
          </p:cNvPr>
          <p:cNvPicPr>
            <a:picLocks noChangeAspect="1"/>
          </p:cNvPicPr>
          <p:nvPr/>
        </p:nvPicPr>
        <p:blipFill>
          <a:blip r:embed="rId12"/>
          <a:stretch>
            <a:fillRect/>
          </a:stretch>
        </p:blipFill>
        <p:spPr>
          <a:xfrm>
            <a:off x="8724404" y="520243"/>
            <a:ext cx="1024223" cy="2028163"/>
          </a:xfrm>
          <a:prstGeom prst="rect">
            <a:avLst/>
          </a:prstGeom>
        </p:spPr>
      </p:pic>
      <p:pic>
        <p:nvPicPr>
          <p:cNvPr id="18" name="Picture 12" descr="Irma.dk - Nyt på hylderne">
            <a:extLst>
              <a:ext uri="{FF2B5EF4-FFF2-40B4-BE49-F238E27FC236}">
                <a16:creationId xmlns:a16="http://schemas.microsoft.com/office/drawing/2014/main" id="{F2616E6B-938E-435D-B75C-B6452EEAB677}"/>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25281" y="-1"/>
            <a:ext cx="3644529" cy="366280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A hand holding food in bowls&#10;&#10;Description automatically generated">
            <a:extLst>
              <a:ext uri="{FF2B5EF4-FFF2-40B4-BE49-F238E27FC236}">
                <a16:creationId xmlns:a16="http://schemas.microsoft.com/office/drawing/2014/main" id="{5D77DC1E-DAE2-4FDF-9F5D-FA4763BB2F6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rot="5400000">
            <a:off x="6909783" y="1578305"/>
            <a:ext cx="3188380" cy="7357383"/>
          </a:xfrm>
          <a:prstGeom prst="rect">
            <a:avLst/>
          </a:prstGeom>
        </p:spPr>
      </p:pic>
      <p:pic>
        <p:nvPicPr>
          <p:cNvPr id="7" name="Picture 6" descr="A jar of brown liquid&#10;&#10;Description automatically generated">
            <a:extLst>
              <a:ext uri="{FF2B5EF4-FFF2-40B4-BE49-F238E27FC236}">
                <a16:creationId xmlns:a16="http://schemas.microsoft.com/office/drawing/2014/main" id="{6DAD1ACD-7081-4795-B4E3-7B12FBBC70AD}"/>
              </a:ext>
            </a:extLst>
          </p:cNvPr>
          <p:cNvPicPr>
            <a:picLocks noChangeAspect="1"/>
          </p:cNvPicPr>
          <p:nvPr/>
        </p:nvPicPr>
        <p:blipFill>
          <a:blip r:embed="rId15"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357765" y="3779711"/>
            <a:ext cx="1043360" cy="1043360"/>
          </a:xfrm>
          <a:prstGeom prst="rect">
            <a:avLst/>
          </a:prstGeom>
        </p:spPr>
      </p:pic>
      <p:pic>
        <p:nvPicPr>
          <p:cNvPr id="5" name="Picture 4" descr="A jar of green olives&#10;&#10;Description automatically generated">
            <a:extLst>
              <a:ext uri="{FF2B5EF4-FFF2-40B4-BE49-F238E27FC236}">
                <a16:creationId xmlns:a16="http://schemas.microsoft.com/office/drawing/2014/main" id="{DC54762F-EF01-4E66-8F45-131A1BCCD989}"/>
              </a:ext>
            </a:extLst>
          </p:cNvPr>
          <p:cNvPicPr>
            <a:picLocks noChangeAspect="1"/>
          </p:cNvPicPr>
          <p:nvPr/>
        </p:nvPicPr>
        <p:blipFill rotWithShape="1">
          <a:blip r:embed="rId16"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11345820" y="3779711"/>
            <a:ext cx="836845" cy="1043359"/>
          </a:xfrm>
          <a:prstGeom prst="rect">
            <a:avLst/>
          </a:prstGeom>
        </p:spPr>
      </p:pic>
      <p:pic>
        <p:nvPicPr>
          <p:cNvPr id="38" name="Picture 37" descr="A jar of pickles with a green lid&#10;&#10;Description automatically generated">
            <a:extLst>
              <a:ext uri="{FF2B5EF4-FFF2-40B4-BE49-F238E27FC236}">
                <a16:creationId xmlns:a16="http://schemas.microsoft.com/office/drawing/2014/main" id="{526BC038-6C53-43BB-80C2-9D0369AE382F}"/>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23119" y="4001701"/>
            <a:ext cx="689951" cy="821370"/>
          </a:xfrm>
          <a:prstGeom prst="rect">
            <a:avLst/>
          </a:prstGeom>
        </p:spPr>
      </p:pic>
      <p:sp>
        <p:nvSpPr>
          <p:cNvPr id="4" name="Title 3">
            <a:extLst>
              <a:ext uri="{FF2B5EF4-FFF2-40B4-BE49-F238E27FC236}">
                <a16:creationId xmlns:a16="http://schemas.microsoft.com/office/drawing/2014/main" id="{0E9B396A-C17F-4487-A33E-2AF29B040E90}"/>
              </a:ext>
            </a:extLst>
          </p:cNvPr>
          <p:cNvSpPr>
            <a:spLocks noGrp="1"/>
          </p:cNvSpPr>
          <p:nvPr>
            <p:ph type="title"/>
          </p:nvPr>
        </p:nvSpPr>
        <p:spPr>
          <a:xfrm>
            <a:off x="157583" y="156833"/>
            <a:ext cx="4663930" cy="2061923"/>
          </a:xfrm>
          <a:noFill/>
        </p:spPr>
        <p:txBody>
          <a:bodyPr vert="horz" lIns="0" anchor="t">
            <a:normAutofit/>
          </a:bodyPr>
          <a:lstStyle/>
          <a:p>
            <a:r>
              <a:rPr lang="da-DK" sz="3200" b="1">
                <a:solidFill>
                  <a:srgbClr val="C31414"/>
                </a:solidFill>
                <a:latin typeface="+mj-lt"/>
              </a:rPr>
              <a:t>Irma er nu et landsdækkende mærke</a:t>
            </a:r>
            <a:endParaRPr lang="da-DK" sz="3200"/>
          </a:p>
        </p:txBody>
      </p:sp>
      <p:pic>
        <p:nvPicPr>
          <p:cNvPr id="1027" name="Picture 1026" descr="A close-up of a chocolate bar&#10;&#10;Description automatically generated">
            <a:extLst>
              <a:ext uri="{FF2B5EF4-FFF2-40B4-BE49-F238E27FC236}">
                <a16:creationId xmlns:a16="http://schemas.microsoft.com/office/drawing/2014/main" id="{FC0C7165-EDCA-4504-B710-B705A82A408F}"/>
              </a:ext>
            </a:extLst>
          </p:cNvPr>
          <p:cNvPicPr>
            <a:picLocks noChangeAspect="1"/>
          </p:cNvPicPr>
          <p:nvPr/>
        </p:nvPicPr>
        <p:blipFill>
          <a:blip r:embed="rId18" cstate="screen">
            <a:extLst>
              <a:ext uri="{BEBA8EAE-BF5A-486C-A8C5-ECC9F3942E4B}">
                <a14:imgProps xmlns:a14="http://schemas.microsoft.com/office/drawing/2010/main">
                  <a14:imgLayer r:embed="rId19">
                    <a14:imgEffect>
                      <a14:backgroundRemoval t="9989" b="91113" l="9945" r="89977">
                        <a14:foregroundMark x1="71809" y1="18610" x2="71809" y2="18610"/>
                        <a14:foregroundMark x1="59514" y1="18192" x2="68207" y2="18458"/>
                        <a14:foregroundMark x1="65074" y1="22560" x2="58496" y2="12343"/>
                        <a14:foregroundMark x1="58496" y1="12343" x2="57009" y2="20167"/>
                        <a14:foregroundMark x1="57009" y1="20167" x2="50509" y2="26814"/>
                        <a14:foregroundMark x1="50509" y1="26814" x2="33359" y2="30080"/>
                        <a14:foregroundMark x1="33359" y1="30080" x2="37353" y2="32624"/>
                        <a14:foregroundMark x1="28896" y1="40638" x2="51214" y2="37676"/>
                        <a14:foregroundMark x1="51214" y1="37676" x2="62099" y2="43107"/>
                        <a14:foregroundMark x1="62099" y1="43107" x2="60767" y2="52184"/>
                        <a14:foregroundMark x1="60767" y1="52184" x2="78622" y2="48272"/>
                        <a14:foregroundMark x1="78622" y1="48272" x2="86453" y2="44740"/>
                        <a14:foregroundMark x1="53015" y1="43373" x2="29601" y2="44626"/>
                        <a14:foregroundMark x1="29601" y1="44626" x2="44323" y2="42841"/>
                        <a14:foregroundMark x1="44323" y1="42841" x2="38449" y2="43107"/>
                        <a14:foregroundMark x1="47455" y1="45120" x2="21691" y2="37372"/>
                        <a14:foregroundMark x1="21691" y1="37372" x2="20752" y2="22864"/>
                        <a14:foregroundMark x1="20752" y1="22864" x2="30149" y2="14888"/>
                        <a14:foregroundMark x1="30149" y1="14888" x2="60689" y2="15913"/>
                        <a14:foregroundMark x1="60689" y1="15913" x2="63508" y2="35397"/>
                        <a14:foregroundMark x1="63508" y1="35397" x2="50666" y2="46107"/>
                        <a14:foregroundMark x1="50666" y1="46107" x2="44949" y2="47322"/>
                        <a14:foregroundMark x1="15427" y1="52070" x2="21065" y2="80099"/>
                        <a14:foregroundMark x1="21065" y1="80099" x2="43461" y2="87467"/>
                        <a14:foregroundMark x1="43461" y1="87467" x2="74080" y2="86669"/>
                        <a14:foregroundMark x1="74080" y1="86669" x2="84886" y2="75427"/>
                        <a14:foregroundMark x1="84886" y1="75427" x2="85670" y2="56134"/>
                        <a14:foregroundMark x1="85670" y1="56134" x2="66641" y2="48842"/>
                        <a14:foregroundMark x1="66641" y1="48842" x2="14879" y2="51918"/>
                        <a14:foregroundMark x1="19107" y1="15192" x2="19812" y2="23775"/>
                        <a14:foregroundMark x1="19812" y1="23775" x2="54973" y2="25028"/>
                        <a14:foregroundMark x1="54973" y1="25028" x2="53720" y2="16331"/>
                        <a14:foregroundMark x1="53720" y1="16331" x2="11825" y2="15458"/>
                        <a14:foregroundMark x1="11825" y1="15458" x2="11825" y2="15458"/>
                        <a14:foregroundMark x1="24745" y1="18344" x2="28661" y2="18458"/>
                        <a14:foregroundMark x1="32028" y1="19142" x2="46280" y2="19559"/>
                        <a14:foregroundMark x1="46280" y1="19559" x2="46907" y2="18990"/>
                        <a14:foregroundMark x1="40955" y1="18610" x2="20125" y2="18420"/>
                        <a14:foregroundMark x1="20125" y1="18420" x2="21613" y2="17243"/>
                        <a14:foregroundMark x1="43540" y1="86745" x2="47455" y2="86100"/>
                        <a14:foregroundMark x1="65936" y1="86365" x2="64291" y2="86213"/>
                        <a14:foregroundMark x1="30854" y1="88264" x2="30305" y2="87429"/>
                        <a14:foregroundMark x1="36492" y1="90961" x2="21770" y2="90695"/>
                        <a14:foregroundMark x1="21770" y1="90695" x2="24354" y2="83213"/>
                        <a14:foregroundMark x1="24354" y1="83213" x2="37666" y2="87201"/>
                        <a14:foregroundMark x1="37666" y1="87201" x2="36492" y2="91113"/>
                      </a14:backgroundRemoval>
                    </a14:imgEffect>
                  </a14:imgLayer>
                </a14:imgProps>
              </a:ext>
              <a:ext uri="{28A0092B-C50C-407E-A947-70E740481C1C}">
                <a14:useLocalDpi xmlns:a14="http://schemas.microsoft.com/office/drawing/2010/main"/>
              </a:ext>
            </a:extLst>
          </a:blip>
          <a:stretch>
            <a:fillRect/>
          </a:stretch>
        </p:blipFill>
        <p:spPr>
          <a:xfrm>
            <a:off x="9161945" y="1143147"/>
            <a:ext cx="1173364" cy="2419317"/>
          </a:xfrm>
          <a:prstGeom prst="rect">
            <a:avLst/>
          </a:prstGeom>
        </p:spPr>
      </p:pic>
    </p:spTree>
    <p:extLst>
      <p:ext uri="{BB962C8B-B14F-4D97-AF65-F5344CB8AC3E}">
        <p14:creationId xmlns:p14="http://schemas.microsoft.com/office/powerpoint/2010/main" val="378694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C736A4-230D-4025-8F57-DED38E331C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B8C736A4-230D-4025-8F57-DED38E331C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1BA311-F3BC-49F3-AABE-5D0A7B764838}"/>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lang="en-GB" smtClean="0"/>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pic>
        <p:nvPicPr>
          <p:cNvPr id="7" name="Content Placeholder 4" descr="A group of people outside of a building&#10;&#10;Description automatically generated with medium confidence">
            <a:extLst>
              <a:ext uri="{FF2B5EF4-FFF2-40B4-BE49-F238E27FC236}">
                <a16:creationId xmlns:a16="http://schemas.microsoft.com/office/drawing/2014/main" id="{50655E5A-4A2E-4F93-A757-ECDC12733119}"/>
              </a:ext>
            </a:extLst>
          </p:cNvPr>
          <p:cNvPicPr>
            <a:picLocks noGrp="1" noChangeAspect="1"/>
          </p:cNvPicPr>
          <p:nvPr>
            <p:ph sz="quarter" idx="14"/>
          </p:nvPr>
        </p:nvPicPr>
        <p:blipFill rotWithShape="1">
          <a:blip r:embed="rId6" cstate="screen">
            <a:extLst>
              <a:ext uri="{28A0092B-C50C-407E-A947-70E740481C1C}">
                <a14:useLocalDpi xmlns:a14="http://schemas.microsoft.com/office/drawing/2010/main"/>
              </a:ext>
            </a:extLst>
          </a:blip>
          <a:srcRect/>
          <a:stretch/>
        </p:blipFill>
        <p:spPr>
          <a:xfrm>
            <a:off x="0" y="0"/>
            <a:ext cx="12204926" cy="6858000"/>
          </a:xfrm>
        </p:spPr>
      </p:pic>
      <p:sp>
        <p:nvSpPr>
          <p:cNvPr id="8" name="Flowchart: Process 20">
            <a:extLst>
              <a:ext uri="{FF2B5EF4-FFF2-40B4-BE49-F238E27FC236}">
                <a16:creationId xmlns:a16="http://schemas.microsoft.com/office/drawing/2014/main" id="{73FF5C75-FB37-4850-9627-F8D70FA27094}"/>
              </a:ext>
            </a:extLst>
          </p:cNvPr>
          <p:cNvSpPr/>
          <p:nvPr/>
        </p:nvSpPr>
        <p:spPr>
          <a:xfrm>
            <a:off x="-3232" y="0"/>
            <a:ext cx="12208158" cy="6871493"/>
          </a:xfrm>
          <a:prstGeom prst="flowChartProcess">
            <a:avLst/>
          </a:prstGeom>
          <a:solidFill>
            <a:schemeClr val="bg1">
              <a:alpha val="87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sng" strike="noStrike" kern="1200" cap="none" spc="0" normalizeH="0" baseline="0">
              <a:ln>
                <a:noFill/>
              </a:ln>
              <a:solidFill>
                <a:srgbClr val="000000"/>
              </a:solidFill>
              <a:effectLst/>
              <a:uLnTx/>
              <a:uFillTx/>
              <a:latin typeface="Coop365discount" pitchFamily="2" charset="0"/>
              <a:ea typeface="+mn-ea"/>
              <a:cs typeface="+mn-cs"/>
            </a:endParaRPr>
          </a:p>
        </p:txBody>
      </p:sp>
      <p:sp>
        <p:nvSpPr>
          <p:cNvPr id="9" name="Slide Number Placeholder 1">
            <a:extLst>
              <a:ext uri="{FF2B5EF4-FFF2-40B4-BE49-F238E27FC236}">
                <a16:creationId xmlns:a16="http://schemas.microsoft.com/office/drawing/2014/main" id="{C059A2B2-386F-4997-B9CB-6E8FD903FEEF}"/>
              </a:ext>
            </a:extLst>
          </p:cNvPr>
          <p:cNvSpPr txBox="1">
            <a:spLocks/>
          </p:cNvSpPr>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73C856-2D42-774B-9F3D-A3E810E10692}" type="slidenum">
              <a:rPr lang="en-GB" smtClean="0">
                <a:solidFill>
                  <a:srgbClr val="000000"/>
                </a:solidFill>
                <a:latin typeface="COOP"/>
              </a:rPr>
              <a:pPr>
                <a:defRPr/>
              </a:pPr>
              <a:t>11</a:t>
            </a:fld>
            <a:endParaRPr lang="en-GB">
              <a:solidFill>
                <a:srgbClr val="000000"/>
              </a:solidFill>
              <a:latin typeface="COOP"/>
            </a:endParaRPr>
          </a:p>
        </p:txBody>
      </p:sp>
      <p:pic>
        <p:nvPicPr>
          <p:cNvPr id="81" name="Picture 148" descr="Logo&#10;&#10;Description automatically generated">
            <a:extLst>
              <a:ext uri="{FF2B5EF4-FFF2-40B4-BE49-F238E27FC236}">
                <a16:creationId xmlns:a16="http://schemas.microsoft.com/office/drawing/2014/main" id="{E3D5DAF4-D5CF-42A9-AD5A-42212E2E9E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19716" y="4481052"/>
            <a:ext cx="460389" cy="449895"/>
          </a:xfrm>
          <a:prstGeom prst="rect">
            <a:avLst/>
          </a:prstGeom>
        </p:spPr>
      </p:pic>
      <p:sp>
        <p:nvSpPr>
          <p:cNvPr id="17" name="Rectangle 73">
            <a:extLst>
              <a:ext uri="{FF2B5EF4-FFF2-40B4-BE49-F238E27FC236}">
                <a16:creationId xmlns:a16="http://schemas.microsoft.com/office/drawing/2014/main" id="{E1C6C11F-0C5E-402C-8CE8-781AE52E307D}"/>
              </a:ext>
            </a:extLst>
          </p:cNvPr>
          <p:cNvSpPr>
            <a:spLocks/>
          </p:cNvSpPr>
          <p:nvPr/>
        </p:nvSpPr>
        <p:spPr>
          <a:xfrm>
            <a:off x="2196011" y="1264101"/>
            <a:ext cx="7809026" cy="98320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Font typeface="Trebuchet MS" panose="020B0603020202020204" pitchFamily="34" charset="0"/>
              <a:buChar char="​"/>
              <a:defRPr/>
            </a:pPr>
            <a:br>
              <a:rPr lang="da-DK" sz="3200" b="1">
                <a:solidFill>
                  <a:srgbClr val="16A846"/>
                </a:solidFill>
                <a:latin typeface="+mj-lt"/>
                <a:ea typeface="+mj-ea"/>
                <a:cs typeface="+mj-cs"/>
              </a:rPr>
            </a:br>
            <a:r>
              <a:rPr kumimoji="0" lang="da-DK" sz="3200" b="1" i="0" u="none" strike="noStrike" kern="1200" cap="none" spc="0" normalizeH="0" baseline="0" noProof="0">
                <a:ln>
                  <a:noFill/>
                </a:ln>
                <a:solidFill>
                  <a:srgbClr val="16A846"/>
                </a:solidFill>
                <a:effectLst/>
                <a:uLnTx/>
                <a:uFillTx/>
                <a:latin typeface="+mj-lt"/>
                <a:ea typeface="+mn-ea"/>
                <a:cs typeface="+mn-cs"/>
              </a:rPr>
              <a:t>Danmarks grønne discountkæde</a:t>
            </a: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da-DK" sz="3200" b="1">
                <a:solidFill>
                  <a:schemeClr val="tx2"/>
                </a:solidFill>
                <a:latin typeface="+mj-lt"/>
                <a:ea typeface="+mj-ea"/>
                <a:cs typeface="+mj-cs"/>
              </a:rPr>
              <a:t>       </a:t>
            </a:r>
          </a:p>
        </p:txBody>
      </p:sp>
      <p:sp>
        <p:nvSpPr>
          <p:cNvPr id="18" name="Rectangle 36">
            <a:extLst>
              <a:ext uri="{FF2B5EF4-FFF2-40B4-BE49-F238E27FC236}">
                <a16:creationId xmlns:a16="http://schemas.microsoft.com/office/drawing/2014/main" id="{0EFF101F-C640-413E-AFC0-0A7DF0A3BF80}"/>
              </a:ext>
            </a:extLst>
          </p:cNvPr>
          <p:cNvSpPr/>
          <p:nvPr/>
        </p:nvSpPr>
        <p:spPr>
          <a:xfrm>
            <a:off x="273306"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Matcher de laveste priser</a:t>
            </a:r>
            <a:endParaRPr kumimoji="0" lang="da-DK" b="1" i="0" u="none" strike="noStrike" kern="1200" cap="none" spc="0" normalizeH="0" baseline="0" noProof="0">
              <a:ln>
                <a:noFill/>
              </a:ln>
              <a:solidFill>
                <a:srgbClr val="FFFFFF"/>
              </a:solidFill>
              <a:effectLst/>
              <a:uLnTx/>
              <a:uFillTx/>
              <a:latin typeface="+mj-lt"/>
            </a:endParaRPr>
          </a:p>
        </p:txBody>
      </p:sp>
      <p:sp>
        <p:nvSpPr>
          <p:cNvPr id="19" name="Rectangle 36">
            <a:extLst>
              <a:ext uri="{FF2B5EF4-FFF2-40B4-BE49-F238E27FC236}">
                <a16:creationId xmlns:a16="http://schemas.microsoft.com/office/drawing/2014/main" id="{DAD967B9-926D-4F5A-9A63-54EC410A01DB}"/>
              </a:ext>
            </a:extLst>
          </p:cNvPr>
          <p:cNvSpPr/>
          <p:nvPr/>
        </p:nvSpPr>
        <p:spPr>
          <a:xfrm>
            <a:off x="2648308"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De mest relevante tilbud</a:t>
            </a:r>
            <a:endParaRPr kumimoji="0" lang="da-DK" b="1" i="0" u="none" strike="noStrike" kern="1200" cap="none" spc="0" normalizeH="0" baseline="0" noProof="0">
              <a:ln>
                <a:noFill/>
              </a:ln>
              <a:solidFill>
                <a:srgbClr val="FFFFFF"/>
              </a:solidFill>
              <a:effectLst/>
              <a:uLnTx/>
              <a:uFillTx/>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ndParaRPr>
          </a:p>
        </p:txBody>
      </p:sp>
      <p:sp>
        <p:nvSpPr>
          <p:cNvPr id="20" name="Rectangle 36">
            <a:extLst>
              <a:ext uri="{FF2B5EF4-FFF2-40B4-BE49-F238E27FC236}">
                <a16:creationId xmlns:a16="http://schemas.microsoft.com/office/drawing/2014/main" id="{D49C2EDA-FA84-43DA-8C93-5FC4A90BD5DB}"/>
              </a:ext>
            </a:extLst>
          </p:cNvPr>
          <p:cNvSpPr/>
          <p:nvPr/>
        </p:nvSpPr>
        <p:spPr>
          <a:xfrm>
            <a:off x="5023310"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b="1" i="0" u="none" strike="noStrike" kern="1200" cap="none" spc="0" normalizeH="0" baseline="0" noProof="0">
                <a:ln>
                  <a:noFill/>
                </a:ln>
                <a:solidFill>
                  <a:srgbClr val="FFFFFF"/>
                </a:solidFill>
                <a:effectLst/>
                <a:uLnTx/>
                <a:uFillTx/>
                <a:latin typeface="+mj-lt"/>
                <a:ea typeface="+mn-ea"/>
                <a:cs typeface="+mn-cs"/>
              </a:rPr>
              <a:t>Hurtigt og nemt indkøb tæt på kun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a typeface="+mn-ea"/>
              <a:cs typeface="+mn-cs"/>
            </a:endParaRPr>
          </a:p>
        </p:txBody>
      </p:sp>
      <p:sp>
        <p:nvSpPr>
          <p:cNvPr id="21" name="Rectangle 36">
            <a:extLst>
              <a:ext uri="{FF2B5EF4-FFF2-40B4-BE49-F238E27FC236}">
                <a16:creationId xmlns:a16="http://schemas.microsoft.com/office/drawing/2014/main" id="{BE7359CD-1C56-4667-A015-860CF5068BCF}"/>
              </a:ext>
            </a:extLst>
          </p:cNvPr>
          <p:cNvSpPr/>
          <p:nvPr/>
        </p:nvSpPr>
        <p:spPr>
          <a:xfrm>
            <a:off x="9773313"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b="1" i="0" u="none" strike="noStrike" kern="1200" cap="none" spc="0" normalizeH="0" baseline="0" noProof="0">
                <a:ln>
                  <a:noFill/>
                </a:ln>
                <a:solidFill>
                  <a:srgbClr val="FFFFFF"/>
                </a:solidFill>
                <a:effectLst/>
                <a:uLnTx/>
                <a:uFillTx/>
                <a:latin typeface="+mj-lt"/>
                <a:ea typeface="+mn-ea"/>
                <a:cs typeface="+mn-cs"/>
              </a:rPr>
              <a:t>Grøn discou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a typeface="+mn-ea"/>
              <a:cs typeface="+mn-cs"/>
            </a:endParaRPr>
          </a:p>
        </p:txBody>
      </p:sp>
      <p:pic>
        <p:nvPicPr>
          <p:cNvPr id="22" name="Picture 52" descr="A picture containing building, outdoor, sky, road&#10;&#10;Description automatically generated">
            <a:extLst>
              <a:ext uri="{FF2B5EF4-FFF2-40B4-BE49-F238E27FC236}">
                <a16:creationId xmlns:a16="http://schemas.microsoft.com/office/drawing/2014/main" id="{889F8DDE-5AEA-4275-B4F5-7D436658394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120117" y="3807896"/>
            <a:ext cx="1976505" cy="1605600"/>
          </a:xfrm>
          <a:prstGeom prst="rect">
            <a:avLst/>
          </a:prstGeom>
        </p:spPr>
      </p:pic>
      <p:sp>
        <p:nvSpPr>
          <p:cNvPr id="23" name="Rectangle 36">
            <a:extLst>
              <a:ext uri="{FF2B5EF4-FFF2-40B4-BE49-F238E27FC236}">
                <a16:creationId xmlns:a16="http://schemas.microsoft.com/office/drawing/2014/main" id="{4D35E7B1-2B3D-45A0-AFFC-241296C0CC6A}"/>
              </a:ext>
            </a:extLst>
          </p:cNvPr>
          <p:cNvSpPr/>
          <p:nvPr/>
        </p:nvSpPr>
        <p:spPr>
          <a:xfrm>
            <a:off x="7398312"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Bredt dagligvare-sortiment med unikke egne varemærker </a:t>
            </a:r>
            <a:endParaRPr kumimoji="0" lang="da-DK" b="1" i="0" u="none" strike="noStrike" kern="1200" cap="none" spc="0" normalizeH="0" baseline="0" noProof="0">
              <a:ln>
                <a:noFill/>
              </a:ln>
              <a:solidFill>
                <a:srgbClr val="FFFFFF"/>
              </a:solidFill>
              <a:effectLst/>
              <a:uLnTx/>
              <a:uFillTx/>
              <a:latin typeface="+mj-lt"/>
            </a:endParaRPr>
          </a:p>
        </p:txBody>
      </p:sp>
      <p:pic>
        <p:nvPicPr>
          <p:cNvPr id="24" name="Picture 53" descr="A picture containing text, indoor, scene, marketplace&#10;&#10;Description automatically generated">
            <a:extLst>
              <a:ext uri="{FF2B5EF4-FFF2-40B4-BE49-F238E27FC236}">
                <a16:creationId xmlns:a16="http://schemas.microsoft.com/office/drawing/2014/main" id="{C114434B-DE86-41B8-B958-23151916FFA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59790" y="3807896"/>
            <a:ext cx="1978834" cy="1605600"/>
          </a:xfrm>
          <a:prstGeom prst="rect">
            <a:avLst/>
          </a:prstGeom>
        </p:spPr>
      </p:pic>
      <p:pic>
        <p:nvPicPr>
          <p:cNvPr id="25" name="Picture 54" descr="A picture containing text, sign&#10;&#10;Description automatically generated">
            <a:extLst>
              <a:ext uri="{FF2B5EF4-FFF2-40B4-BE49-F238E27FC236}">
                <a16:creationId xmlns:a16="http://schemas.microsoft.com/office/drawing/2014/main" id="{F2E45FB2-F5FF-4360-BBFF-BEAD1AF2AC0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743535" y="3807896"/>
            <a:ext cx="1987032" cy="1605600"/>
          </a:xfrm>
          <a:prstGeom prst="rect">
            <a:avLst/>
          </a:prstGeom>
        </p:spPr>
      </p:pic>
      <p:pic>
        <p:nvPicPr>
          <p:cNvPr id="26" name="Picture 2" descr="16009_OKT20">
            <a:extLst>
              <a:ext uri="{FF2B5EF4-FFF2-40B4-BE49-F238E27FC236}">
                <a16:creationId xmlns:a16="http://schemas.microsoft.com/office/drawing/2014/main" id="{38B69508-C551-4356-A195-B3697F012E00}"/>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9863896" y="3807896"/>
            <a:ext cx="1978834" cy="1605600"/>
          </a:xfrm>
          <a:prstGeom prst="rect">
            <a:avLst/>
          </a:prstGeom>
          <a:noFill/>
          <a:extLst>
            <a:ext uri="{909E8E84-426E-40DD-AFC4-6F175D3DCCD1}">
              <a14:hiddenFill xmlns:a14="http://schemas.microsoft.com/office/drawing/2010/main">
                <a:solidFill>
                  <a:srgbClr val="FFFFFF"/>
                </a:solidFill>
              </a14:hiddenFill>
            </a:ext>
          </a:extLst>
        </p:spPr>
      </p:pic>
      <p:pic>
        <p:nvPicPr>
          <p:cNvPr id="27" name="Billede 26" descr="Et billede, der indeholder gulv, bord, mad, indendørs&#10;&#10;Automatisk genereret beskrivelse">
            <a:extLst>
              <a:ext uri="{FF2B5EF4-FFF2-40B4-BE49-F238E27FC236}">
                <a16:creationId xmlns:a16="http://schemas.microsoft.com/office/drawing/2014/main" id="{D1EC2FAB-FF4E-4F16-8BFD-A6F94A9180E3}"/>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496688" y="3807896"/>
            <a:ext cx="1987032" cy="1605600"/>
          </a:xfrm>
          <a:prstGeom prst="rect">
            <a:avLst/>
          </a:prstGeom>
        </p:spPr>
      </p:pic>
      <p:pic>
        <p:nvPicPr>
          <p:cNvPr id="2050" name="Picture 2" descr="365_logo_box_GREEN_RGB">
            <a:extLst>
              <a:ext uri="{FF2B5EF4-FFF2-40B4-BE49-F238E27FC236}">
                <a16:creationId xmlns:a16="http://schemas.microsoft.com/office/drawing/2014/main" id="{0F961E91-7960-C328-437D-03DA2FEF1B7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519715" y="188724"/>
            <a:ext cx="1161618" cy="111284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365_logo_box_GREEN_RGB">
            <a:extLst>
              <a:ext uri="{FF2B5EF4-FFF2-40B4-BE49-F238E27FC236}">
                <a16:creationId xmlns:a16="http://schemas.microsoft.com/office/drawing/2014/main" id="{1868BEC5-BF19-49AE-9A8D-18E47EE8E5A2}"/>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829804" y="6302654"/>
            <a:ext cx="460389" cy="449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389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06CBBD8B-815B-4C9C-B7A5-07D06A421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9" name="Objekt 18" hidden="1">
                        <a:extLst>
                          <a:ext uri="{FF2B5EF4-FFF2-40B4-BE49-F238E27FC236}">
                            <a16:creationId xmlns:a16="http://schemas.microsoft.com/office/drawing/2014/main" id="{06CBBD8B-815B-4C9C-B7A5-07D06A421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74">
            <a:extLst>
              <a:ext uri="{FF2B5EF4-FFF2-40B4-BE49-F238E27FC236}">
                <a16:creationId xmlns:a16="http://schemas.microsoft.com/office/drawing/2014/main" id="{FA813889-0CE8-4A71-90AC-645255C8F5DD}"/>
              </a:ext>
            </a:extLst>
          </p:cNvPr>
          <p:cNvSpPr>
            <a:spLocks/>
          </p:cNvSpPr>
          <p:nvPr/>
        </p:nvSpPr>
        <p:spPr>
          <a:xfrm>
            <a:off x="224463" y="1563432"/>
            <a:ext cx="11699134" cy="77019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3200" b="1" i="0" u="none" strike="noStrike" kern="1200" cap="none" spc="0" normalizeH="0" baseline="0" noProof="0">
                <a:ln>
                  <a:noFill/>
                </a:ln>
                <a:solidFill>
                  <a:srgbClr val="1D712E"/>
                </a:solidFill>
                <a:effectLst/>
                <a:uLnTx/>
                <a:uFillTx/>
                <a:latin typeface="COOP"/>
                <a:ea typeface="+mn-ea"/>
                <a:cs typeface="+mn-cs"/>
              </a:rPr>
              <a:t>Danmarks førende og bæredygtige hverdagsmarked</a:t>
            </a:r>
          </a:p>
          <a:p>
            <a:pPr marL="393750" marR="0" lvl="1" indent="-285750" algn="ctr" defTabSz="91440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da-DK" sz="3200" b="0" i="0" u="none" strike="noStrike" kern="1200" cap="none" spc="0" normalizeH="0" baseline="0" noProof="0">
              <a:ln>
                <a:noFill/>
              </a:ln>
              <a:solidFill>
                <a:srgbClr val="1D712E"/>
              </a:solidFill>
              <a:effectLst/>
              <a:uLnTx/>
              <a:uFillTx/>
              <a:latin typeface="COOP"/>
              <a:ea typeface="+mn-ea"/>
              <a:cs typeface="+mn-cs"/>
            </a:endParaRPr>
          </a:p>
        </p:txBody>
      </p:sp>
      <p:sp>
        <p:nvSpPr>
          <p:cNvPr id="4" name="Rectangle 36">
            <a:extLst>
              <a:ext uri="{FF2B5EF4-FFF2-40B4-BE49-F238E27FC236}">
                <a16:creationId xmlns:a16="http://schemas.microsoft.com/office/drawing/2014/main" id="{69F7F80F-8864-4AF0-82A2-D664F1214E4A}"/>
              </a:ext>
            </a:extLst>
          </p:cNvPr>
          <p:cNvSpPr/>
          <p:nvPr/>
        </p:nvSpPr>
        <p:spPr>
          <a:xfrm>
            <a:off x="452711" y="2368063"/>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Bedst på økolog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5" name="Picture 20" descr="A picture containing text, person, holding&#10;&#10;Description automatically generated">
            <a:extLst>
              <a:ext uri="{FF2B5EF4-FFF2-40B4-BE49-F238E27FC236}">
                <a16:creationId xmlns:a16="http://schemas.microsoft.com/office/drawing/2014/main" id="{3BC6E5AF-C533-4A6B-B509-5BC82ABD52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4711" y="3697406"/>
            <a:ext cx="1584000" cy="1396281"/>
          </a:xfrm>
          <a:prstGeom prst="rect">
            <a:avLst/>
          </a:prstGeom>
        </p:spPr>
      </p:pic>
      <p:sp>
        <p:nvSpPr>
          <p:cNvPr id="6" name="Rectangle 36">
            <a:extLst>
              <a:ext uri="{FF2B5EF4-FFF2-40B4-BE49-F238E27FC236}">
                <a16:creationId xmlns:a16="http://schemas.microsoft.com/office/drawing/2014/main" id="{E90E92D0-5532-4499-965D-C070E3F335D5}"/>
              </a:ext>
            </a:extLst>
          </p:cNvPr>
          <p:cNvSpPr/>
          <p:nvPr/>
        </p:nvSpPr>
        <p:spPr>
          <a:xfrm>
            <a:off x="2370039"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Alt til hverdag, til en fair pri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7" name="Picture 21" descr="A picture containing person, person&#10;&#10;Description automatically generated">
            <a:extLst>
              <a:ext uri="{FF2B5EF4-FFF2-40B4-BE49-F238E27FC236}">
                <a16:creationId xmlns:a16="http://schemas.microsoft.com/office/drawing/2014/main" id="{53375F31-0224-4BED-9A16-7847398ECB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2039" y="3697405"/>
            <a:ext cx="1584000" cy="1396282"/>
          </a:xfrm>
          <a:prstGeom prst="rect">
            <a:avLst/>
          </a:prstGeom>
        </p:spPr>
      </p:pic>
      <p:sp>
        <p:nvSpPr>
          <p:cNvPr id="8" name="Rectangle 36">
            <a:extLst>
              <a:ext uri="{FF2B5EF4-FFF2-40B4-BE49-F238E27FC236}">
                <a16:creationId xmlns:a16="http://schemas.microsoft.com/office/drawing/2014/main" id="{2468B461-698D-4282-B935-8D4C55811A12}"/>
              </a:ext>
            </a:extLst>
          </p:cNvPr>
          <p:cNvSpPr/>
          <p:nvPr/>
        </p:nvSpPr>
        <p:spPr>
          <a:xfrm>
            <a:off x="4287367"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Unikke egne varemærk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9" name="Picture 4" descr="Økologi varer gruppe">
            <a:extLst>
              <a:ext uri="{FF2B5EF4-FFF2-40B4-BE49-F238E27FC236}">
                <a16:creationId xmlns:a16="http://schemas.microsoft.com/office/drawing/2014/main" id="{CC8EA195-E062-454D-96DD-37A6DB9EDD1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359367" y="3697405"/>
            <a:ext cx="1584000" cy="139628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6">
            <a:extLst>
              <a:ext uri="{FF2B5EF4-FFF2-40B4-BE49-F238E27FC236}">
                <a16:creationId xmlns:a16="http://schemas.microsoft.com/office/drawing/2014/main" id="{9A0BC115-2A78-489B-8B8C-1DDBCA7F2FB5}"/>
              </a:ext>
            </a:extLst>
          </p:cNvPr>
          <p:cNvSpPr/>
          <p:nvPr/>
        </p:nvSpPr>
        <p:spPr>
          <a:xfrm>
            <a:off x="6204695"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Nemt at handl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1" name="Billede 10">
            <a:extLst>
              <a:ext uri="{FF2B5EF4-FFF2-40B4-BE49-F238E27FC236}">
                <a16:creationId xmlns:a16="http://schemas.microsoft.com/office/drawing/2014/main" id="{292FE8D1-0530-4C9D-BF98-5DD1028A406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276695" y="3709366"/>
            <a:ext cx="1584000" cy="1372361"/>
          </a:xfrm>
          <a:prstGeom prst="rect">
            <a:avLst/>
          </a:prstGeom>
        </p:spPr>
      </p:pic>
      <p:sp>
        <p:nvSpPr>
          <p:cNvPr id="12" name="Rectangle 36">
            <a:extLst>
              <a:ext uri="{FF2B5EF4-FFF2-40B4-BE49-F238E27FC236}">
                <a16:creationId xmlns:a16="http://schemas.microsoft.com/office/drawing/2014/main" id="{9055998B-BBBB-433C-9294-7D584502C363}"/>
              </a:ext>
            </a:extLst>
          </p:cNvPr>
          <p:cNvSpPr/>
          <p:nvPr/>
        </p:nvSpPr>
        <p:spPr>
          <a:xfrm>
            <a:off x="8122023"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Sundere måltids-løsning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3" name="Picture 4" descr="29127_APR19">
            <a:extLst>
              <a:ext uri="{FF2B5EF4-FFF2-40B4-BE49-F238E27FC236}">
                <a16:creationId xmlns:a16="http://schemas.microsoft.com/office/drawing/2014/main" id="{7DAE49C6-C7E4-49DF-A358-88DD32DA44A8}"/>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327"/>
          <a:stretch/>
        </p:blipFill>
        <p:spPr bwMode="auto">
          <a:xfrm>
            <a:off x="8194023" y="3700042"/>
            <a:ext cx="1584000" cy="139100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36">
            <a:extLst>
              <a:ext uri="{FF2B5EF4-FFF2-40B4-BE49-F238E27FC236}">
                <a16:creationId xmlns:a16="http://schemas.microsoft.com/office/drawing/2014/main" id="{FE6DE96F-A1DC-46D8-9605-5D3D03DC20AD}"/>
              </a:ext>
            </a:extLst>
          </p:cNvPr>
          <p:cNvSpPr/>
          <p:nvPr/>
        </p:nvSpPr>
        <p:spPr>
          <a:xfrm>
            <a:off x="10039349"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Frisk kød, fisk, brød og grøn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5" name="Picture 23" descr="A plate of food&#10;&#10;Description automatically generated with medium confidence">
            <a:extLst>
              <a:ext uri="{FF2B5EF4-FFF2-40B4-BE49-F238E27FC236}">
                <a16:creationId xmlns:a16="http://schemas.microsoft.com/office/drawing/2014/main" id="{745F91A7-F306-496A-A53B-41C2E355829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111349" y="3697405"/>
            <a:ext cx="1584000" cy="1396282"/>
          </a:xfrm>
          <a:prstGeom prst="rect">
            <a:avLst/>
          </a:prstGeom>
        </p:spPr>
      </p:pic>
      <p:sp>
        <p:nvSpPr>
          <p:cNvPr id="17" name="Rektangel: afrundede hjørner 15">
            <a:extLst>
              <a:ext uri="{FF2B5EF4-FFF2-40B4-BE49-F238E27FC236}">
                <a16:creationId xmlns:a16="http://schemas.microsoft.com/office/drawing/2014/main" id="{C1D20EB8-F9C5-415A-B036-951B70449C3D}"/>
              </a:ext>
            </a:extLst>
          </p:cNvPr>
          <p:cNvSpPr/>
          <p:nvPr/>
        </p:nvSpPr>
        <p:spPr>
          <a:xfrm>
            <a:off x="4937053" y="115888"/>
            <a:ext cx="2330631" cy="1240691"/>
          </a:xfrm>
          <a:prstGeom prst="roundRect">
            <a:avLst>
              <a:gd name="adj" fmla="val 7225"/>
            </a:avLst>
          </a:prstGeom>
          <a:solidFill>
            <a:srgbClr val="1D712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20" name="Graphic 67">
            <a:extLst>
              <a:ext uri="{FF2B5EF4-FFF2-40B4-BE49-F238E27FC236}">
                <a16:creationId xmlns:a16="http://schemas.microsoft.com/office/drawing/2014/main" id="{D051B28B-F3F4-4B56-8C68-6174CB6FF27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83728" y="293998"/>
            <a:ext cx="1780604" cy="511449"/>
          </a:xfrm>
          <a:prstGeom prst="rect">
            <a:avLst/>
          </a:prstGeom>
        </p:spPr>
      </p:pic>
      <p:sp>
        <p:nvSpPr>
          <p:cNvPr id="2" name="TextBox 1">
            <a:extLst>
              <a:ext uri="{FF2B5EF4-FFF2-40B4-BE49-F238E27FC236}">
                <a16:creationId xmlns:a16="http://schemas.microsoft.com/office/drawing/2014/main" id="{92C24876-D290-2C5F-4EC5-25AF83CCFAEF}"/>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12</a:t>
            </a:fld>
            <a:endParaRPr lang="da-DK" sz="800" kern="1200">
              <a:solidFill>
                <a:schemeClr val="bg1">
                  <a:lumMod val="50000"/>
                </a:schemeClr>
              </a:solidFill>
              <a:latin typeface="+mn-lt"/>
              <a:ea typeface="+mn-ea"/>
              <a:cs typeface="+mn-cs"/>
              <a:sym typeface="Trebuchet MS" panose="020B0603020202020204" pitchFamily="34" charset="0"/>
            </a:endParaRPr>
          </a:p>
        </p:txBody>
      </p:sp>
      <p:sp>
        <p:nvSpPr>
          <p:cNvPr id="37" name="Rectangle 4">
            <a:extLst>
              <a:ext uri="{FF2B5EF4-FFF2-40B4-BE49-F238E27FC236}">
                <a16:creationId xmlns:a16="http://schemas.microsoft.com/office/drawing/2014/main" id="{72DB6869-3FF9-6381-32B2-9094A6690268}"/>
              </a:ext>
            </a:extLst>
          </p:cNvPr>
          <p:cNvSpPr/>
          <p:nvPr/>
        </p:nvSpPr>
        <p:spPr>
          <a:xfrm>
            <a:off x="7736609" y="-1685248"/>
            <a:ext cx="5153891" cy="1625600"/>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200">
                <a:solidFill>
                  <a:schemeClr val="tx1"/>
                </a:solidFill>
              </a:rPr>
              <a:t>Kilde (fra total </a:t>
            </a:r>
            <a:r>
              <a:rPr lang="da-DK" sz="1200" err="1">
                <a:solidFill>
                  <a:schemeClr val="tx1"/>
                </a:solidFill>
              </a:rPr>
              <a:t>PnL</a:t>
            </a:r>
            <a:r>
              <a:rPr lang="da-DK" sz="1200">
                <a:solidFill>
                  <a:schemeClr val="tx1"/>
                </a:solidFill>
              </a:rPr>
              <a:t> ark) til kurv, kunder og avance: https://azurecoop.sharepoint.com/sites/ArosFnix/Shared%20Documents/General/6.%20Data%20room%20(leverance)/Ready%20for%20upload/2.%20Finansiel%20information/2.1%20Historisk%20performance%20&amp;%20fremskrivning/2.1.1%20P&amp;L/231109%20PnL%20(historisk)_opdateret.xlsx?web=1</a:t>
            </a:r>
          </a:p>
        </p:txBody>
      </p:sp>
      <p:sp>
        <p:nvSpPr>
          <p:cNvPr id="16" name="Rectangle 4">
            <a:extLst>
              <a:ext uri="{FF2B5EF4-FFF2-40B4-BE49-F238E27FC236}">
                <a16:creationId xmlns:a16="http://schemas.microsoft.com/office/drawing/2014/main" id="{80E48B30-BDF2-1648-2DFE-C1E7F95FFA98}"/>
              </a:ext>
            </a:extLst>
          </p:cNvPr>
          <p:cNvSpPr/>
          <p:nvPr/>
        </p:nvSpPr>
        <p:spPr>
          <a:xfrm>
            <a:off x="2074327" y="-1685248"/>
            <a:ext cx="5153891" cy="1625600"/>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200">
                <a:solidFill>
                  <a:schemeClr val="tx1"/>
                </a:solidFill>
              </a:rPr>
              <a:t>Kilde til # butikker: https://azurecoop.sharepoint.com/sites/ArosFnix/Shared%20Documents/General/6.%20Data%20room%20(leverance)/Not%20reviewed/3.%20Operationel%20information/1.%20Lokationer/Butiksstrategi%20-%20handlinger%20pr.%20butik.xlsx?web=1</a:t>
            </a:r>
          </a:p>
        </p:txBody>
      </p:sp>
      <p:grpSp>
        <p:nvGrpSpPr>
          <p:cNvPr id="18" name="Group 17">
            <a:extLst>
              <a:ext uri="{FF2B5EF4-FFF2-40B4-BE49-F238E27FC236}">
                <a16:creationId xmlns:a16="http://schemas.microsoft.com/office/drawing/2014/main" id="{0888B72D-79FF-9F6B-151C-D82D91A17CEE}"/>
              </a:ext>
            </a:extLst>
          </p:cNvPr>
          <p:cNvGrpSpPr/>
          <p:nvPr/>
        </p:nvGrpSpPr>
        <p:grpSpPr>
          <a:xfrm>
            <a:off x="5218269" y="858830"/>
            <a:ext cx="877731" cy="435033"/>
            <a:chOff x="1139586" y="3530976"/>
            <a:chExt cx="1131692" cy="560904"/>
          </a:xfrm>
        </p:grpSpPr>
        <p:pic>
          <p:nvPicPr>
            <p:cNvPr id="23" name="Picture 4" descr="SB_Butiksnavn_RGB">
              <a:extLst>
                <a:ext uri="{FF2B5EF4-FFF2-40B4-BE49-F238E27FC236}">
                  <a16:creationId xmlns:a16="http://schemas.microsoft.com/office/drawing/2014/main" id="{122DCB44-A5AC-307F-F116-44F78A883503}"/>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Rounded Corners 37">
              <a:extLst>
                <a:ext uri="{FF2B5EF4-FFF2-40B4-BE49-F238E27FC236}">
                  <a16:creationId xmlns:a16="http://schemas.microsoft.com/office/drawing/2014/main" id="{7A135103-9209-A98E-76C4-EC403E14FFA3}"/>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39" name="Group 38">
            <a:extLst>
              <a:ext uri="{FF2B5EF4-FFF2-40B4-BE49-F238E27FC236}">
                <a16:creationId xmlns:a16="http://schemas.microsoft.com/office/drawing/2014/main" id="{47D83CFA-C0B8-9452-0714-62F3AF59019F}"/>
              </a:ext>
            </a:extLst>
          </p:cNvPr>
          <p:cNvGrpSpPr/>
          <p:nvPr/>
        </p:nvGrpSpPr>
        <p:grpSpPr>
          <a:xfrm>
            <a:off x="6121122" y="849497"/>
            <a:ext cx="877731" cy="435033"/>
            <a:chOff x="2303670" y="3518942"/>
            <a:chExt cx="1131692" cy="560904"/>
          </a:xfrm>
        </p:grpSpPr>
        <p:pic>
          <p:nvPicPr>
            <p:cNvPr id="40" name="Picture 2" descr="KV_Butiksnavn_RGB">
              <a:extLst>
                <a:ext uri="{FF2B5EF4-FFF2-40B4-BE49-F238E27FC236}">
                  <a16:creationId xmlns:a16="http://schemas.microsoft.com/office/drawing/2014/main" id="{1E0A479C-498D-9998-80A2-F03735DBCEF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Rounded Corners 40">
              <a:extLst>
                <a:ext uri="{FF2B5EF4-FFF2-40B4-BE49-F238E27FC236}">
                  <a16:creationId xmlns:a16="http://schemas.microsoft.com/office/drawing/2014/main" id="{7826B0DB-147D-3BEF-B7C6-66288ADDD2A2}"/>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spTree>
    <p:extLst>
      <p:ext uri="{BB962C8B-B14F-4D97-AF65-F5344CB8AC3E}">
        <p14:creationId xmlns:p14="http://schemas.microsoft.com/office/powerpoint/2010/main" val="182666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10" grpId="0" animBg="1"/>
      <p:bldP spid="12"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06C1A7-F7DB-43F2-95E1-EF96578A79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kt 2" hidden="1">
                        <a:extLst>
                          <a:ext uri="{FF2B5EF4-FFF2-40B4-BE49-F238E27FC236}">
                            <a16:creationId xmlns:a16="http://schemas.microsoft.com/office/drawing/2014/main" id="{7406C1A7-F7DB-43F2-95E1-EF96578A7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6A63FA6-5E49-20C9-332D-BBAF2E7A2B0D}"/>
              </a:ext>
            </a:extLst>
          </p:cNvPr>
          <p:cNvSpPr/>
          <p:nvPr/>
        </p:nvSpPr>
        <p:spPr>
          <a:xfrm>
            <a:off x="5419725" y="6508074"/>
            <a:ext cx="1476375" cy="262052"/>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15" name="Rectangle 74">
            <a:extLst>
              <a:ext uri="{FF2B5EF4-FFF2-40B4-BE49-F238E27FC236}">
                <a16:creationId xmlns:a16="http://schemas.microsoft.com/office/drawing/2014/main" id="{A72A6B1D-0554-417D-BDCC-60EE27FFEBF9}"/>
              </a:ext>
            </a:extLst>
          </p:cNvPr>
          <p:cNvSpPr>
            <a:spLocks/>
          </p:cNvSpPr>
          <p:nvPr/>
        </p:nvSpPr>
        <p:spPr>
          <a:xfrm>
            <a:off x="1002186" y="1377418"/>
            <a:ext cx="10044751"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rtl="0" eaLnBrk="1" fontAlgn="auto" latinLnBrk="0" hangingPunct="1">
              <a:lnSpc>
                <a:spcPct val="100000"/>
              </a:lnSpc>
              <a:spcBef>
                <a:spcPts val="0"/>
              </a:spcBef>
              <a:spcAft>
                <a:spcPts val="0"/>
              </a:spcAft>
              <a:buClr>
                <a:srgbClr val="FFFFFF"/>
              </a:buClr>
              <a:buSzTx/>
              <a:buFontTx/>
              <a:buNone/>
              <a:tabLst/>
              <a:defRPr/>
            </a:pPr>
            <a:r>
              <a:rPr kumimoji="0" lang="da-DK" sz="3200" b="1" i="0" u="none" strike="noStrike" kern="1200" cap="none" spc="0" normalizeH="0" baseline="0" noProof="0" dirty="0">
                <a:ln>
                  <a:noFill/>
                </a:ln>
                <a:solidFill>
                  <a:srgbClr val="C31414"/>
                </a:solidFill>
                <a:effectLst/>
                <a:uLnTx/>
                <a:uFillTx/>
                <a:latin typeface="COOP" pitchFamily="2" charset="0"/>
                <a:ea typeface="+mn-ea"/>
                <a:cs typeface="+mn-cs"/>
              </a:rPr>
              <a:t>Danmarks mest lokalt tilpassede nærbutik</a:t>
            </a:r>
          </a:p>
        </p:txBody>
      </p:sp>
      <p:sp>
        <p:nvSpPr>
          <p:cNvPr id="18" name="Rectangle 37">
            <a:extLst>
              <a:ext uri="{FF2B5EF4-FFF2-40B4-BE49-F238E27FC236}">
                <a16:creationId xmlns:a16="http://schemas.microsoft.com/office/drawing/2014/main" id="{63B87BB1-6A26-4C8C-A15E-D144013C5985}"/>
              </a:ext>
            </a:extLst>
          </p:cNvPr>
          <p:cNvSpPr/>
          <p:nvPr/>
        </p:nvSpPr>
        <p:spPr>
          <a:xfrm>
            <a:off x="9767318"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Byens bedste</a:t>
            </a:r>
            <a:br>
              <a:rPr kumimoji="0" lang="da-DK" sz="1600" b="1" i="0" u="none" strike="noStrike" kern="1200" cap="none" spc="0" normalizeH="0" baseline="0" noProof="0" dirty="0">
                <a:ln>
                  <a:noFill/>
                </a:ln>
                <a:solidFill>
                  <a:srgbClr val="FFFFFF"/>
                </a:solidFill>
                <a:effectLst/>
                <a:uLnTx/>
                <a:uFillTx/>
                <a:latin typeface="COOP"/>
                <a:ea typeface="+mn-ea"/>
                <a:cs typeface="+mn-cs"/>
              </a:rPr>
            </a:br>
            <a:r>
              <a:rPr kumimoji="0" lang="da-DK" sz="1600" b="1" i="0" u="none" strike="noStrike" kern="1200" cap="none" spc="0" normalizeH="0" baseline="0" noProof="0" dirty="0">
                <a:ln>
                  <a:noFill/>
                </a:ln>
                <a:solidFill>
                  <a:srgbClr val="FFFFFF"/>
                </a:solidFill>
                <a:effectLst/>
                <a:uLnTx/>
                <a:uFillTx/>
                <a:latin typeface="COOP"/>
                <a:ea typeface="+mn-ea"/>
                <a:cs typeface="+mn-cs"/>
              </a:rPr>
              <a:t>butik-for-buti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sp>
        <p:nvSpPr>
          <p:cNvPr id="4" name="Rectangle 36">
            <a:extLst>
              <a:ext uri="{FF2B5EF4-FFF2-40B4-BE49-F238E27FC236}">
                <a16:creationId xmlns:a16="http://schemas.microsoft.com/office/drawing/2014/main" id="{5815E495-DD60-45CF-9818-AEC5B4511572}"/>
              </a:ext>
            </a:extLst>
          </p:cNvPr>
          <p:cNvSpPr/>
          <p:nvPr/>
        </p:nvSpPr>
        <p:spPr>
          <a:xfrm>
            <a:off x="273306"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COOP"/>
                <a:ea typeface="+mn-ea"/>
                <a:cs typeface="+mn-cs"/>
              </a:rPr>
              <a:t>Den lokale madbuti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a:ln>
                <a:noFill/>
              </a:ln>
              <a:solidFill>
                <a:srgbClr val="FFFFFF"/>
              </a:solidFill>
              <a:effectLst/>
              <a:uLnTx/>
              <a:uFillTx/>
              <a:latin typeface="COOP"/>
              <a:ea typeface="+mn-ea"/>
              <a:cs typeface="+mn-cs"/>
            </a:endParaRPr>
          </a:p>
        </p:txBody>
      </p:sp>
      <p:sp>
        <p:nvSpPr>
          <p:cNvPr id="6" name="Rectangle 33">
            <a:extLst>
              <a:ext uri="{FF2B5EF4-FFF2-40B4-BE49-F238E27FC236}">
                <a16:creationId xmlns:a16="http://schemas.microsoft.com/office/drawing/2014/main" id="{EB8145AE-BA7B-42EA-ABC7-5A14D9752774}"/>
              </a:ext>
            </a:extLst>
          </p:cNvPr>
          <p:cNvSpPr/>
          <p:nvPr/>
        </p:nvSpPr>
        <p:spPr>
          <a:xfrm>
            <a:off x="5016000"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Lav PR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Program på de vigtigste var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22" name="895A7ADA-62EB-4673-ADF3-27D8B01A48CF" descr="IMG_5185.jpg">
            <a:extLst>
              <a:ext uri="{FF2B5EF4-FFF2-40B4-BE49-F238E27FC236}">
                <a16:creationId xmlns:a16="http://schemas.microsoft.com/office/drawing/2014/main" id="{B4D20373-4F07-4741-B447-94AECB9047B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223000" y="3788802"/>
            <a:ext cx="1746000" cy="198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5">
            <a:extLst>
              <a:ext uri="{FF2B5EF4-FFF2-40B4-BE49-F238E27FC236}">
                <a16:creationId xmlns:a16="http://schemas.microsoft.com/office/drawing/2014/main" id="{1D4D75B2-5BE2-4C46-A166-E12BF0F4C561}"/>
              </a:ext>
            </a:extLst>
          </p:cNvPr>
          <p:cNvSpPr/>
          <p:nvPr/>
        </p:nvSpPr>
        <p:spPr>
          <a:xfrm>
            <a:off x="2649879" y="2349091"/>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Reduceret core sortiment og  max. lokal handlefrihed</a:t>
            </a:r>
          </a:p>
        </p:txBody>
      </p:sp>
      <p:sp>
        <p:nvSpPr>
          <p:cNvPr id="16" name="Rectangle 34">
            <a:extLst>
              <a:ext uri="{FF2B5EF4-FFF2-40B4-BE49-F238E27FC236}">
                <a16:creationId xmlns:a16="http://schemas.microsoft.com/office/drawing/2014/main" id="{DE1FC522-7DE3-412F-AE2F-55AFAC2C0E21}"/>
              </a:ext>
            </a:extLst>
          </p:cNvPr>
          <p:cNvSpPr/>
          <p:nvPr/>
        </p:nvSpPr>
        <p:spPr>
          <a:xfrm>
            <a:off x="7391659"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100% central digital markedsfø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24" name="Billede 23" descr="Et billede, der indeholder Font/skrifttype, tekst, skærmbillede, Grafik&#10;&#10;Automatisk genereret beskrivelse">
            <a:extLst>
              <a:ext uri="{FF2B5EF4-FFF2-40B4-BE49-F238E27FC236}">
                <a16:creationId xmlns:a16="http://schemas.microsoft.com/office/drawing/2014/main" id="{695E2B12-5A8B-42FB-B618-454D4B41550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27219" y="185585"/>
            <a:ext cx="2337563" cy="1122248"/>
          </a:xfrm>
          <a:prstGeom prst="rect">
            <a:avLst/>
          </a:prstGeom>
        </p:spPr>
      </p:pic>
      <p:pic>
        <p:nvPicPr>
          <p:cNvPr id="11" name="Billede 10" descr="Et billede, der indeholder tekst, udendørs, sky, bygning&#10;&#10;Automatisk genereret beskrivelse">
            <a:extLst>
              <a:ext uri="{FF2B5EF4-FFF2-40B4-BE49-F238E27FC236}">
                <a16:creationId xmlns:a16="http://schemas.microsoft.com/office/drawing/2014/main" id="{20CE5181-A44B-7777-E2A3-64031B9A22D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896400" y="3787200"/>
            <a:ext cx="1859715" cy="1987200"/>
          </a:xfrm>
          <a:prstGeom prst="rect">
            <a:avLst/>
          </a:prstGeom>
        </p:spPr>
      </p:pic>
      <p:pic>
        <p:nvPicPr>
          <p:cNvPr id="17" name="Billede 23" descr="Et billede, der indeholder Font/skrifttype, tekst, skærmbillede, Grafik&#10;&#10;Automatisk genereret beskrivelse">
            <a:extLst>
              <a:ext uri="{FF2B5EF4-FFF2-40B4-BE49-F238E27FC236}">
                <a16:creationId xmlns:a16="http://schemas.microsoft.com/office/drawing/2014/main" id="{B565E25C-3E03-4ACA-9CC8-286A926C008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23082" y="6419735"/>
            <a:ext cx="545836" cy="262052"/>
          </a:xfrm>
          <a:prstGeom prst="rect">
            <a:avLst/>
          </a:prstGeom>
        </p:spPr>
      </p:pic>
      <p:sp>
        <p:nvSpPr>
          <p:cNvPr id="20" name="Slide Number Placeholder 3">
            <a:extLst>
              <a:ext uri="{FF2B5EF4-FFF2-40B4-BE49-F238E27FC236}">
                <a16:creationId xmlns:a16="http://schemas.microsoft.com/office/drawing/2014/main" id="{D2E6C1AB-E72E-4711-AC6D-6E4D64AD922F}"/>
              </a:ext>
            </a:extLst>
          </p:cNvPr>
          <p:cNvSpPr txBox="1">
            <a:spLocks/>
          </p:cNvSpPr>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pic>
        <p:nvPicPr>
          <p:cNvPr id="13" name="Billede 12" descr="Et billede, der indeholder tekst, scene, indendørs, Detailhandel&#10;&#10;Automatisk genereret beskrivelse">
            <a:extLst>
              <a:ext uri="{FF2B5EF4-FFF2-40B4-BE49-F238E27FC236}">
                <a16:creationId xmlns:a16="http://schemas.microsoft.com/office/drawing/2014/main" id="{0FBAF3D1-745F-C394-2403-8B9257D154D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58187" y="3787200"/>
            <a:ext cx="1805510" cy="1987200"/>
          </a:xfrm>
          <a:prstGeom prst="rect">
            <a:avLst/>
          </a:prstGeom>
        </p:spPr>
      </p:pic>
      <p:pic>
        <p:nvPicPr>
          <p:cNvPr id="25" name="Billede 24" descr="Et billede, der indeholder tekst, drike, sodavand, Glasflaske&#10;&#10;Automatisk genereret beskrivelse">
            <a:extLst>
              <a:ext uri="{FF2B5EF4-FFF2-40B4-BE49-F238E27FC236}">
                <a16:creationId xmlns:a16="http://schemas.microsoft.com/office/drawing/2014/main" id="{537080DA-B5E7-1668-123E-A79C016F8328}"/>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802696" y="3787200"/>
            <a:ext cx="1842999" cy="1987200"/>
          </a:xfrm>
          <a:prstGeom prst="rect">
            <a:avLst/>
          </a:prstGeom>
        </p:spPr>
      </p:pic>
      <p:pic>
        <p:nvPicPr>
          <p:cNvPr id="27" name="Billede 26" descr="Et billede, der indeholder tekst, plakat, mærkat/mærke/mærkeseddel, flaske&#10;&#10;Automatisk genereret beskrivelse">
            <a:extLst>
              <a:ext uri="{FF2B5EF4-FFF2-40B4-BE49-F238E27FC236}">
                <a16:creationId xmlns:a16="http://schemas.microsoft.com/office/drawing/2014/main" id="{A02D4DCB-3E49-54A0-4640-A6DBB8EB514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573000" y="3787200"/>
            <a:ext cx="1816304" cy="2005200"/>
          </a:xfrm>
          <a:prstGeom prst="rect">
            <a:avLst/>
          </a:prstGeom>
        </p:spPr>
      </p:pic>
    </p:spTree>
    <p:extLst>
      <p:ext uri="{BB962C8B-B14F-4D97-AF65-F5344CB8AC3E}">
        <p14:creationId xmlns:p14="http://schemas.microsoft.com/office/powerpoint/2010/main" val="2220179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1FCEC3-D595-4282-9520-CE4F861B9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kt 2" hidden="1">
                        <a:extLst>
                          <a:ext uri="{FF2B5EF4-FFF2-40B4-BE49-F238E27FC236}">
                            <a16:creationId xmlns:a16="http://schemas.microsoft.com/office/drawing/2014/main" id="{031FCEC3-D595-4282-9520-CE4F861B9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ktangel 1">
            <a:extLst>
              <a:ext uri="{FF2B5EF4-FFF2-40B4-BE49-F238E27FC236}">
                <a16:creationId xmlns:a16="http://schemas.microsoft.com/office/drawing/2014/main" id="{0CA5E29D-06D4-2F4C-B602-FDB7F11254C5}"/>
              </a:ext>
            </a:extLst>
          </p:cNvPr>
          <p:cNvSpPr/>
          <p:nvPr/>
        </p:nvSpPr>
        <p:spPr>
          <a:xfrm>
            <a:off x="1" y="-1"/>
            <a:ext cx="121919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6" name="TextBox 15">
            <a:extLst>
              <a:ext uri="{FF2B5EF4-FFF2-40B4-BE49-F238E27FC236}">
                <a16:creationId xmlns:a16="http://schemas.microsoft.com/office/drawing/2014/main" id="{74802567-18A7-E847-9937-BDCBF12D94C8}"/>
              </a:ext>
            </a:extLst>
          </p:cNvPr>
          <p:cNvSpPr txBox="1"/>
          <p:nvPr/>
        </p:nvSpPr>
        <p:spPr>
          <a:xfrm>
            <a:off x="361245" y="728663"/>
            <a:ext cx="5133332" cy="1292662"/>
          </a:xfrm>
          <a:prstGeom prst="rect">
            <a:avLst/>
          </a:prstGeom>
          <a:noFill/>
        </p:spPr>
        <p:txBody>
          <a:bodyPr wrap="square" lIns="72000" tIns="0" rIns="7200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a:ln>
                  <a:noFill/>
                </a:ln>
                <a:solidFill>
                  <a:srgbClr val="C00000"/>
                </a:solidFill>
                <a:effectLst/>
                <a:uLnTx/>
                <a:uFillTx/>
                <a:latin typeface="COOP"/>
                <a:ea typeface="+mn-ea"/>
                <a:cs typeface="+mn-cs"/>
              </a:rPr>
              <a:t>Vi har lanceret </a:t>
            </a:r>
            <a:r>
              <a:rPr lang="da-DK" sz="2800" b="1">
                <a:solidFill>
                  <a:srgbClr val="C00000"/>
                </a:solidFill>
                <a:latin typeface="COOP"/>
              </a:rPr>
              <a:t>é</a:t>
            </a:r>
            <a:r>
              <a:rPr kumimoji="0" lang="da-DK" sz="2800" b="1" i="0" u="none" strike="noStrike" kern="1200" cap="none" spc="0" normalizeH="0" baseline="0" noProof="0">
                <a:ln>
                  <a:noFill/>
                </a:ln>
                <a:solidFill>
                  <a:srgbClr val="C00000"/>
                </a:solidFill>
                <a:effectLst/>
                <a:uLnTx/>
                <a:uFillTx/>
                <a:latin typeface="COOP"/>
                <a:ea typeface="+mn-ea"/>
                <a:cs typeface="+mn-cs"/>
              </a:rPr>
              <a:t>t sammenhængende loyalitetskoncept</a:t>
            </a:r>
            <a:endParaRPr kumimoji="0" lang="da-DK" sz="1050" b="1" i="0" u="none" strike="noStrike" kern="1200" cap="none" spc="0" normalizeH="0" baseline="0" noProof="0">
              <a:ln>
                <a:noFill/>
              </a:ln>
              <a:solidFill>
                <a:srgbClr val="C00000"/>
              </a:solidFill>
              <a:effectLst/>
              <a:uLnTx/>
              <a:uFillTx/>
              <a:latin typeface="COOP"/>
              <a:ea typeface="+mn-ea"/>
              <a:cs typeface="+mn-cs"/>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447897" y="2132772"/>
            <a:ext cx="5086127" cy="35394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fokuserer på det danskerne har mest brug for: </a:t>
            </a:r>
            <a:r>
              <a:rPr kumimoji="0" lang="da-DK" sz="1600" b="1" i="0" u="none" strike="noStrike" kern="1200" cap="none" spc="0" normalizeH="0" baseline="0">
                <a:ln>
                  <a:noFill/>
                </a:ln>
                <a:solidFill>
                  <a:srgbClr val="C31414"/>
                </a:solidFill>
                <a:effectLst/>
                <a:uLnTx/>
                <a:uFillTx/>
                <a:latin typeface="COOP"/>
                <a:ea typeface="+mn-ea"/>
                <a:cs typeface="+mn-cs"/>
              </a:rPr>
              <a:t>Bedre priser på dagligvar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iver </a:t>
            </a:r>
            <a:r>
              <a:rPr kumimoji="0" lang="da-DK" sz="1600" b="1" i="0" u="none" strike="noStrike" kern="1200" cap="none" spc="0" normalizeH="0" baseline="0">
                <a:ln>
                  <a:noFill/>
                </a:ln>
                <a:solidFill>
                  <a:srgbClr val="C31414"/>
                </a:solidFill>
                <a:effectLst/>
                <a:uLnTx/>
                <a:uFillTx/>
                <a:latin typeface="COOP"/>
                <a:ea typeface="+mn-ea"/>
                <a:cs typeface="+mn-cs"/>
              </a:rPr>
              <a:t>1% bonus </a:t>
            </a:r>
            <a:r>
              <a:rPr kumimoji="0" lang="da-DK" sz="1600" b="0" i="0" u="none" strike="noStrike" kern="1200" cap="none" spc="0" normalizeH="0" baseline="0">
                <a:ln>
                  <a:noFill/>
                </a:ln>
                <a:solidFill>
                  <a:srgbClr val="C31414"/>
                </a:solidFill>
                <a:effectLst/>
                <a:uLnTx/>
                <a:uFillTx/>
                <a:latin typeface="COOP"/>
                <a:ea typeface="+mn-ea"/>
                <a:cs typeface="+mn-cs"/>
              </a:rPr>
              <a:t>på en række af Coops stærke varemærk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ør det </a:t>
            </a:r>
            <a:r>
              <a:rPr kumimoji="0" lang="da-DK" sz="1600" b="1" i="0" u="none" strike="noStrike" kern="1200" cap="none" spc="0" normalizeH="0" baseline="0">
                <a:ln>
                  <a:noFill/>
                </a:ln>
                <a:solidFill>
                  <a:srgbClr val="C31414"/>
                </a:solidFill>
                <a:effectLst/>
                <a:uLnTx/>
                <a:uFillTx/>
                <a:latin typeface="COOP"/>
                <a:ea typeface="+mn-ea"/>
                <a:cs typeface="+mn-cs"/>
              </a:rPr>
              <a:t>billigere med </a:t>
            </a:r>
            <a:r>
              <a:rPr kumimoji="0" lang="da-DK" sz="1600" b="1" i="0" u="none" strike="noStrike" kern="1200" cap="none" spc="0" normalizeH="0" baseline="0" err="1">
                <a:ln>
                  <a:noFill/>
                </a:ln>
                <a:solidFill>
                  <a:srgbClr val="C31414"/>
                </a:solidFill>
                <a:effectLst/>
                <a:uLnTx/>
                <a:uFillTx/>
                <a:latin typeface="COOP"/>
                <a:ea typeface="+mn-ea"/>
                <a:cs typeface="+mn-cs"/>
              </a:rPr>
              <a:t>FordelsKonto</a:t>
            </a:r>
            <a:r>
              <a:rPr kumimoji="0" lang="da-DK" sz="1600" b="1" i="0" u="none" strike="noStrike" kern="1200" cap="none" spc="0" normalizeH="0" baseline="0">
                <a:ln>
                  <a:noFill/>
                </a:ln>
                <a:solidFill>
                  <a:srgbClr val="C31414"/>
                </a:solidFill>
                <a:effectLst/>
                <a:uLnTx/>
                <a:uFillTx/>
                <a:latin typeface="COOP"/>
                <a:ea typeface="+mn-ea"/>
                <a:cs typeface="+mn-cs"/>
              </a:rPr>
              <a: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Op til 15% bonus på +3.000 varer fra 1. maj</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a:ln>
                  <a:noFill/>
                </a:ln>
                <a:solidFill>
                  <a:srgbClr val="C31414"/>
                </a:solidFill>
                <a:effectLst/>
                <a:uLnTx/>
                <a:uFillTx/>
                <a:latin typeface="COOP"/>
                <a:ea typeface="+mn-ea"/>
                <a:cs typeface="+mn-cs"/>
              </a:rPr>
              <a:t>Vi gør det fleksibel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Du vælger selv, hvilke varer du vil have bonus på og du kan skifte fordele og beløb månedlig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a:t>
            </a:r>
            <a:r>
              <a:rPr kumimoji="0" lang="da-DK" sz="1600" b="1" i="0" u="none" strike="noStrike" kern="1200" cap="none" spc="0" normalizeH="0" baseline="0">
                <a:ln>
                  <a:noFill/>
                </a:ln>
                <a:solidFill>
                  <a:srgbClr val="C31414"/>
                </a:solidFill>
                <a:effectLst/>
                <a:uLnTx/>
                <a:uFillTx/>
                <a:latin typeface="COOP"/>
                <a:ea typeface="+mn-ea"/>
                <a:cs typeface="+mn-cs"/>
              </a:rPr>
              <a:t>udvider løbende </a:t>
            </a:r>
            <a:r>
              <a:rPr kumimoji="0" lang="da-DK" sz="1600" b="0" i="0" u="none" strike="noStrike" kern="1200" cap="none" spc="0" normalizeH="0" baseline="0">
                <a:ln>
                  <a:noFill/>
                </a:ln>
                <a:solidFill>
                  <a:srgbClr val="C31414"/>
                </a:solidFill>
                <a:effectLst/>
                <a:uLnTx/>
                <a:uFillTx/>
                <a:latin typeface="COOP"/>
                <a:ea typeface="+mn-ea"/>
                <a:cs typeface="+mn-cs"/>
              </a:rPr>
              <a:t>fordelsprogrammet </a:t>
            </a:r>
            <a:endParaRPr kumimoji="0" lang="da-DK" sz="1600" b="0" i="0" u="none" strike="noStrike" kern="1200" cap="none" spc="-20" normalizeH="0" baseline="0">
              <a:ln>
                <a:noFill/>
              </a:ln>
              <a:solidFill>
                <a:srgbClr val="C31414"/>
              </a:solidFill>
              <a:effectLst/>
              <a:uLnTx/>
              <a:uFillTx/>
              <a:latin typeface="COOP"/>
              <a:ea typeface="+mn-ea"/>
              <a:cs typeface="+mn-cs"/>
            </a:endParaRPr>
          </a:p>
        </p:txBody>
      </p:sp>
      <p:sp>
        <p:nvSpPr>
          <p:cNvPr id="9" name="Rectangle 8">
            <a:extLst>
              <a:ext uri="{FF2B5EF4-FFF2-40B4-BE49-F238E27FC236}">
                <a16:creationId xmlns:a16="http://schemas.microsoft.com/office/drawing/2014/main" id="{960B840E-D377-B54C-8441-11204E042761}"/>
              </a:ext>
            </a:extLst>
          </p:cNvPr>
          <p:cNvSpPr/>
          <p:nvPr/>
        </p:nvSpPr>
        <p:spPr>
          <a:xfrm>
            <a:off x="352991" y="385011"/>
            <a:ext cx="5314384" cy="5996739"/>
          </a:xfrm>
          <a:prstGeom prst="rect">
            <a:avLst/>
          </a:prstGeom>
          <a:noFill/>
          <a:ln w="2857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OOP"/>
              <a:ea typeface="+mn-ea"/>
              <a:cs typeface="+mn-cs"/>
            </a:endParaRPr>
          </a:p>
        </p:txBody>
      </p:sp>
      <p:sp>
        <p:nvSpPr>
          <p:cNvPr id="2" name="Rektangel 1">
            <a:extLst>
              <a:ext uri="{FF2B5EF4-FFF2-40B4-BE49-F238E27FC236}">
                <a16:creationId xmlns:a16="http://schemas.microsoft.com/office/drawing/2014/main" id="{A775F22B-E167-48B4-BC5C-6F396E46A800}"/>
              </a:ext>
            </a:extLst>
          </p:cNvPr>
          <p:cNvSpPr/>
          <p:nvPr/>
        </p:nvSpPr>
        <p:spPr>
          <a:xfrm>
            <a:off x="6067425" y="-1"/>
            <a:ext cx="61245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a:ea typeface="+mn-ea"/>
              <a:cs typeface="+mn-cs"/>
            </a:endParaRPr>
          </a:p>
        </p:txBody>
      </p:sp>
      <p:pic>
        <p:nvPicPr>
          <p:cNvPr id="10" name="Coop FordelsKonto video">
            <a:hlinkClick r:id="" action="ppaction://media"/>
            <a:extLst>
              <a:ext uri="{FF2B5EF4-FFF2-40B4-BE49-F238E27FC236}">
                <a16:creationId xmlns:a16="http://schemas.microsoft.com/office/drawing/2014/main" id="{40A74975-769A-48A8-8F01-742AF25F920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902401" y="350541"/>
            <a:ext cx="2484000" cy="4709900"/>
          </a:xfrm>
          <a:prstGeom prst="rect">
            <a:avLst/>
          </a:prstGeom>
        </p:spPr>
      </p:pic>
      <p:grpSp>
        <p:nvGrpSpPr>
          <p:cNvPr id="38" name="Gruppe 37">
            <a:extLst>
              <a:ext uri="{FF2B5EF4-FFF2-40B4-BE49-F238E27FC236}">
                <a16:creationId xmlns:a16="http://schemas.microsoft.com/office/drawing/2014/main" id="{E48CDEF3-0541-434D-8FB2-F2BDE192B6AC}"/>
              </a:ext>
            </a:extLst>
          </p:cNvPr>
          <p:cNvGrpSpPr/>
          <p:nvPr/>
        </p:nvGrpSpPr>
        <p:grpSpPr>
          <a:xfrm>
            <a:off x="6268842" y="5429727"/>
            <a:ext cx="5817505" cy="890396"/>
            <a:chOff x="6041858" y="5911964"/>
            <a:chExt cx="5817505" cy="890396"/>
          </a:xfrm>
        </p:grpSpPr>
        <p:pic>
          <p:nvPicPr>
            <p:cNvPr id="5" name="Billede 4">
              <a:extLst>
                <a:ext uri="{FF2B5EF4-FFF2-40B4-BE49-F238E27FC236}">
                  <a16:creationId xmlns:a16="http://schemas.microsoft.com/office/drawing/2014/main" id="{39A5D800-7789-4166-8704-31A4A5FDA85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83808" y="5911964"/>
              <a:ext cx="341866" cy="429249"/>
            </a:xfrm>
            <a:prstGeom prst="rect">
              <a:avLst/>
            </a:prstGeom>
          </p:spPr>
        </p:pic>
        <p:pic>
          <p:nvPicPr>
            <p:cNvPr id="11" name="Billede 10">
              <a:extLst>
                <a:ext uri="{FF2B5EF4-FFF2-40B4-BE49-F238E27FC236}">
                  <a16:creationId xmlns:a16="http://schemas.microsoft.com/office/drawing/2014/main" id="{2617D44B-9DDE-4564-A014-BDEF77D460C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07513" y="5944539"/>
              <a:ext cx="667904" cy="396674"/>
            </a:xfrm>
            <a:prstGeom prst="rect">
              <a:avLst/>
            </a:prstGeom>
          </p:spPr>
        </p:pic>
        <p:pic>
          <p:nvPicPr>
            <p:cNvPr id="14" name="Billede 13">
              <a:extLst>
                <a:ext uri="{FF2B5EF4-FFF2-40B4-BE49-F238E27FC236}">
                  <a16:creationId xmlns:a16="http://schemas.microsoft.com/office/drawing/2014/main" id="{CF97DBA4-6202-4E1B-8FA5-F3428E5E4CF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782487" y="6039974"/>
              <a:ext cx="703890" cy="226740"/>
            </a:xfrm>
            <a:prstGeom prst="rect">
              <a:avLst/>
            </a:prstGeom>
          </p:spPr>
        </p:pic>
        <p:pic>
          <p:nvPicPr>
            <p:cNvPr id="17" name="Billede 16">
              <a:extLst>
                <a:ext uri="{FF2B5EF4-FFF2-40B4-BE49-F238E27FC236}">
                  <a16:creationId xmlns:a16="http://schemas.microsoft.com/office/drawing/2014/main" id="{06292352-94E5-49E4-8C90-3C7177CA386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48685" y="6007406"/>
              <a:ext cx="667904" cy="314783"/>
            </a:xfrm>
            <a:prstGeom prst="rect">
              <a:avLst/>
            </a:prstGeom>
          </p:spPr>
        </p:pic>
        <p:pic>
          <p:nvPicPr>
            <p:cNvPr id="19" name="Billede 18">
              <a:extLst>
                <a:ext uri="{FF2B5EF4-FFF2-40B4-BE49-F238E27FC236}">
                  <a16:creationId xmlns:a16="http://schemas.microsoft.com/office/drawing/2014/main" id="{A1A25714-5C72-473B-B96C-4C959BB2A5E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96589" y="6047930"/>
              <a:ext cx="1079211" cy="233733"/>
            </a:xfrm>
            <a:prstGeom prst="rect">
              <a:avLst/>
            </a:prstGeom>
          </p:spPr>
        </p:pic>
        <p:pic>
          <p:nvPicPr>
            <p:cNvPr id="23" name="Billede 22">
              <a:extLst>
                <a:ext uri="{FF2B5EF4-FFF2-40B4-BE49-F238E27FC236}">
                  <a16:creationId xmlns:a16="http://schemas.microsoft.com/office/drawing/2014/main" id="{987F67A4-D493-4323-A7A6-7DA14DC9D0C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594757" y="6097879"/>
              <a:ext cx="987643" cy="155640"/>
            </a:xfrm>
            <a:prstGeom prst="rect">
              <a:avLst/>
            </a:prstGeom>
          </p:spPr>
        </p:pic>
        <p:pic>
          <p:nvPicPr>
            <p:cNvPr id="25" name="Billede 24">
              <a:extLst>
                <a:ext uri="{FF2B5EF4-FFF2-40B4-BE49-F238E27FC236}">
                  <a16:creationId xmlns:a16="http://schemas.microsoft.com/office/drawing/2014/main" id="{B61C731B-2C9B-432F-BD3C-90D4B289A40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08708" y="6460763"/>
              <a:ext cx="1250655" cy="213867"/>
            </a:xfrm>
            <a:prstGeom prst="rect">
              <a:avLst/>
            </a:prstGeom>
          </p:spPr>
        </p:pic>
        <p:pic>
          <p:nvPicPr>
            <p:cNvPr id="27" name="Billede 26">
              <a:extLst>
                <a:ext uri="{FF2B5EF4-FFF2-40B4-BE49-F238E27FC236}">
                  <a16:creationId xmlns:a16="http://schemas.microsoft.com/office/drawing/2014/main" id="{9A219AE9-7C95-48C2-9A51-F3B83F5BB88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796619" y="6373111"/>
              <a:ext cx="411678" cy="429249"/>
            </a:xfrm>
            <a:prstGeom prst="rect">
              <a:avLst/>
            </a:prstGeom>
          </p:spPr>
        </p:pic>
        <p:pic>
          <p:nvPicPr>
            <p:cNvPr id="29" name="Billede 28">
              <a:extLst>
                <a:ext uri="{FF2B5EF4-FFF2-40B4-BE49-F238E27FC236}">
                  <a16:creationId xmlns:a16="http://schemas.microsoft.com/office/drawing/2014/main" id="{7BF17385-0FD9-48BF-B884-A118F1F736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457825" y="6377867"/>
              <a:ext cx="411678" cy="416824"/>
            </a:xfrm>
            <a:prstGeom prst="rect">
              <a:avLst/>
            </a:prstGeom>
          </p:spPr>
        </p:pic>
        <p:pic>
          <p:nvPicPr>
            <p:cNvPr id="31" name="Billede 30">
              <a:extLst>
                <a:ext uri="{FF2B5EF4-FFF2-40B4-BE49-F238E27FC236}">
                  <a16:creationId xmlns:a16="http://schemas.microsoft.com/office/drawing/2014/main" id="{12C43F1A-82FD-4583-A5D4-F4DC29317E9F}"/>
                </a:ext>
              </a:extLst>
            </p:cNvPr>
            <p:cNvPicPr>
              <a:picLocks noChangeAspect="1"/>
            </p:cNvPicPr>
            <p:nvPr/>
          </p:nvPicPr>
          <p:blipFill>
            <a:blip r:embed="rId18"/>
            <a:stretch>
              <a:fillRect/>
            </a:stretch>
          </p:blipFill>
          <p:spPr>
            <a:xfrm>
              <a:off x="6041858" y="6460763"/>
              <a:ext cx="598137" cy="225827"/>
            </a:xfrm>
            <a:prstGeom prst="rect">
              <a:avLst/>
            </a:prstGeom>
          </p:spPr>
        </p:pic>
        <p:pic>
          <p:nvPicPr>
            <p:cNvPr id="33" name="Billede 32">
              <a:extLst>
                <a:ext uri="{FF2B5EF4-FFF2-40B4-BE49-F238E27FC236}">
                  <a16:creationId xmlns:a16="http://schemas.microsoft.com/office/drawing/2014/main" id="{B649A2FF-6B94-4829-87F3-E6914925F0C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026201" y="6463289"/>
              <a:ext cx="686699" cy="254022"/>
            </a:xfrm>
            <a:prstGeom prst="rect">
              <a:avLst/>
            </a:prstGeom>
          </p:spPr>
        </p:pic>
        <p:pic>
          <p:nvPicPr>
            <p:cNvPr id="35" name="Billede 34">
              <a:extLst>
                <a:ext uri="{FF2B5EF4-FFF2-40B4-BE49-F238E27FC236}">
                  <a16:creationId xmlns:a16="http://schemas.microsoft.com/office/drawing/2014/main" id="{4F5DB6F9-D6C7-4B3D-8F9B-7EFE3ABD2844}"/>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872527" y="6483896"/>
              <a:ext cx="554992" cy="266396"/>
            </a:xfrm>
            <a:prstGeom prst="rect">
              <a:avLst/>
            </a:prstGeom>
          </p:spPr>
        </p:pic>
        <p:pic>
          <p:nvPicPr>
            <p:cNvPr id="37" name="Billede 36">
              <a:extLst>
                <a:ext uri="{FF2B5EF4-FFF2-40B4-BE49-F238E27FC236}">
                  <a16:creationId xmlns:a16="http://schemas.microsoft.com/office/drawing/2014/main" id="{71E6D651-DF1F-406B-A2D7-D0D1BA5E517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991299" y="6535025"/>
              <a:ext cx="776776" cy="139605"/>
            </a:xfrm>
            <a:prstGeom prst="rect">
              <a:avLst/>
            </a:prstGeom>
          </p:spPr>
        </p:pic>
      </p:grpSp>
      <p:pic>
        <p:nvPicPr>
          <p:cNvPr id="24" name="Graphic 67">
            <a:extLst>
              <a:ext uri="{FF2B5EF4-FFF2-40B4-BE49-F238E27FC236}">
                <a16:creationId xmlns:a16="http://schemas.microsoft.com/office/drawing/2014/main" id="{31A514E8-EB46-473F-8BA6-AC7B7DB009D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749993" y="6550905"/>
            <a:ext cx="692014" cy="198770"/>
          </a:xfrm>
          <a:prstGeom prst="rect">
            <a:avLst/>
          </a:prstGeom>
        </p:spPr>
      </p:pic>
      <p:cxnSp>
        <p:nvCxnSpPr>
          <p:cNvPr id="6" name="Lige forbindelse 5">
            <a:extLst>
              <a:ext uri="{FF2B5EF4-FFF2-40B4-BE49-F238E27FC236}">
                <a16:creationId xmlns:a16="http://schemas.microsoft.com/office/drawing/2014/main" id="{90EFF707-A3E1-452D-8DEC-86E022BB7228}"/>
              </a:ext>
            </a:extLst>
          </p:cNvPr>
          <p:cNvCxnSpPr/>
          <p:nvPr/>
        </p:nvCxnSpPr>
        <p:spPr>
          <a:xfrm>
            <a:off x="6268842" y="6381750"/>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659CDDA-7376-4FD2-A16A-6DADD62E2747}"/>
              </a:ext>
            </a:extLst>
          </p:cNvPr>
          <p:cNvCxnSpPr/>
          <p:nvPr/>
        </p:nvCxnSpPr>
        <p:spPr>
          <a:xfrm>
            <a:off x="6240463" y="5350011"/>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12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0"/>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withEffect">
                                  <p:stCondLst>
                                    <p:cond delay="0"/>
                                  </p:stCondLst>
                                  <p:childTnLst>
                                    <p:cmd type="call" cmd="togglePause">
                                      <p:cBhvr>
                                        <p:cTn id="35" dur="1" fill="hold"/>
                                        <p:tgtEl>
                                          <p:spTgt spid="10"/>
                                        </p:tgtEl>
                                      </p:cBhvr>
                                    </p:cmd>
                                  </p:childTnLst>
                                </p:cTn>
                              </p:par>
                            </p:childTnLst>
                          </p:cTn>
                        </p:par>
                      </p:childTnLst>
                    </p:cTn>
                  </p:par>
                </p:childTnLst>
              </p:cTn>
              <p:nextCondLst>
                <p:cond evt="onClick" delay="0">
                  <p:tgtEl>
                    <p:spTgt spid="10"/>
                  </p:tgtEl>
                </p:cond>
              </p:nextCondLst>
            </p:seq>
            <p:video>
              <p:cMediaNode vol="80000">
                <p:cTn id="36" fill="hold" display="0">
                  <p:stCondLst>
                    <p:cond delay="indefinite"/>
                  </p:stCondLst>
                </p:cTn>
                <p:tgtEl>
                  <p:spTgt spid="10"/>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605CDA-9F92-40BE-34A0-7A03DBFF0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7E605CDA-9F92-40BE-34A0-7A03DBFF0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27A518-4FDA-E923-1D1E-860E63F1BF3E}"/>
              </a:ext>
            </a:extLst>
          </p:cNvPr>
          <p:cNvSpPr>
            <a:spLocks noGrp="1"/>
          </p:cNvSpPr>
          <p:nvPr>
            <p:ph type="title"/>
          </p:nvPr>
        </p:nvSpPr>
        <p:spPr/>
        <p:txBody>
          <a:bodyPr vert="horz"/>
          <a:lstStyle/>
          <a:p>
            <a:r>
              <a:rPr lang="da-DK" dirty="0"/>
              <a:t>Bæredygtighed </a:t>
            </a:r>
            <a:r>
              <a:rPr lang="da-DK" b="0" dirty="0"/>
              <a:t>| Coop anerkendes af kunderne og globalt for bæredygtighed </a:t>
            </a:r>
          </a:p>
        </p:txBody>
      </p:sp>
      <p:sp>
        <p:nvSpPr>
          <p:cNvPr id="9" name="TextBox 8">
            <a:extLst>
              <a:ext uri="{FF2B5EF4-FFF2-40B4-BE49-F238E27FC236}">
                <a16:creationId xmlns:a16="http://schemas.microsoft.com/office/drawing/2014/main" id="{D8FAF778-BE37-A9D4-EEB6-1939AB7825FB}"/>
              </a:ext>
            </a:extLst>
          </p:cNvPr>
          <p:cNvSpPr txBox="1"/>
          <p:nvPr/>
        </p:nvSpPr>
        <p:spPr>
          <a:xfrm>
            <a:off x="469899" y="1255726"/>
            <a:ext cx="5485815"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p>
            <a:pPr algn="l"/>
            <a:r>
              <a:rPr lang="da-DK" b="1" i="0" err="1">
                <a:solidFill>
                  <a:srgbClr val="000000"/>
                </a:solidFill>
                <a:effectLst/>
                <a:latin typeface="+mj-lt"/>
              </a:rPr>
              <a:t>Änglamark</a:t>
            </a:r>
            <a:r>
              <a:rPr lang="da-DK" b="1" i="0">
                <a:solidFill>
                  <a:srgbClr val="000000"/>
                </a:solidFill>
                <a:effectLst/>
                <a:latin typeface="+mj-lt"/>
              </a:rPr>
              <a:t> vinder 2023-udgaven af </a:t>
            </a:r>
            <a:r>
              <a:rPr lang="da-DK" b="1" i="0" err="1">
                <a:solidFill>
                  <a:srgbClr val="000000"/>
                </a:solidFill>
                <a:effectLst/>
                <a:latin typeface="+mj-lt"/>
              </a:rPr>
              <a:t>Sustainable</a:t>
            </a:r>
            <a:r>
              <a:rPr lang="da-DK" b="1" i="0">
                <a:solidFill>
                  <a:srgbClr val="000000"/>
                </a:solidFill>
                <a:effectLst/>
                <a:latin typeface="+mj-lt"/>
              </a:rPr>
              <a:t> Brand Index og bliver af forbrugerne opfattet som det mest bæredygtige brand i Danmark</a:t>
            </a:r>
            <a:endParaRPr lang="da-DK" b="1">
              <a:solidFill>
                <a:srgbClr val="000000"/>
              </a:solidFill>
              <a:latin typeface="+mj-lt"/>
            </a:endParaRPr>
          </a:p>
          <a:p>
            <a:pPr algn="l"/>
            <a:endParaRPr lang="da-DK" b="0" i="0">
              <a:solidFill>
                <a:srgbClr val="000000"/>
              </a:solidFill>
              <a:effectLst/>
              <a:latin typeface="+mj-lt"/>
            </a:endParaRPr>
          </a:p>
          <a:p>
            <a:pPr algn="l"/>
            <a:r>
              <a:rPr lang="da-DK" b="0" i="0" err="1">
                <a:solidFill>
                  <a:srgbClr val="000000"/>
                </a:solidFill>
                <a:effectLst/>
                <a:latin typeface="+mj-lt"/>
              </a:rPr>
              <a:t>Sustainable</a:t>
            </a:r>
            <a:r>
              <a:rPr lang="da-DK" b="0" i="0">
                <a:solidFill>
                  <a:srgbClr val="000000"/>
                </a:solidFill>
                <a:effectLst/>
                <a:latin typeface="+mj-lt"/>
              </a:rPr>
              <a:t> Brand Index er den største undersøgelse af bæredygtige brands i Europa med over 80.000 respondenter og 1.600 brands. </a:t>
            </a:r>
          </a:p>
          <a:p>
            <a:pPr algn="l"/>
            <a:r>
              <a:rPr lang="da-DK" b="0" i="0">
                <a:solidFill>
                  <a:srgbClr val="000000"/>
                </a:solidFill>
                <a:effectLst/>
                <a:latin typeface="+mj-lt"/>
              </a:rPr>
              <a:t>I Danmark blev 12.000 respondenter interviewet om 243 brands. </a:t>
            </a:r>
            <a:r>
              <a:rPr lang="da-DK" b="0" i="0" err="1">
                <a:solidFill>
                  <a:srgbClr val="000000"/>
                </a:solidFill>
                <a:effectLst/>
                <a:latin typeface="+mj-lt"/>
              </a:rPr>
              <a:t>Änglamark</a:t>
            </a:r>
            <a:r>
              <a:rPr lang="da-DK" b="0" i="0">
                <a:solidFill>
                  <a:srgbClr val="000000"/>
                </a:solidFill>
                <a:effectLst/>
                <a:latin typeface="+mj-lt"/>
              </a:rPr>
              <a:t> var ny på listen og slog vinderen fra de sidste to år, REMA 1000. </a:t>
            </a:r>
          </a:p>
        </p:txBody>
      </p:sp>
      <p:grpSp>
        <p:nvGrpSpPr>
          <p:cNvPr id="14" name="Group 13">
            <a:extLst>
              <a:ext uri="{FF2B5EF4-FFF2-40B4-BE49-F238E27FC236}">
                <a16:creationId xmlns:a16="http://schemas.microsoft.com/office/drawing/2014/main" id="{6AB4FF37-FBB3-C23A-9105-DD074EDC9872}"/>
              </a:ext>
            </a:extLst>
          </p:cNvPr>
          <p:cNvGrpSpPr/>
          <p:nvPr/>
        </p:nvGrpSpPr>
        <p:grpSpPr>
          <a:xfrm>
            <a:off x="804521" y="5157694"/>
            <a:ext cx="4816570" cy="889159"/>
            <a:chOff x="883449" y="5157694"/>
            <a:chExt cx="4816570" cy="889159"/>
          </a:xfrm>
        </p:grpSpPr>
        <p:pic>
          <p:nvPicPr>
            <p:cNvPr id="10" name="Picture 6" descr="Sustainable Brand Index Reports 2017">
              <a:extLst>
                <a:ext uri="{FF2B5EF4-FFF2-40B4-BE49-F238E27FC236}">
                  <a16:creationId xmlns:a16="http://schemas.microsoft.com/office/drawing/2014/main" id="{60F8AA47-8FDA-1FFE-CF10-02E4AE1AE05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12318" y="5157694"/>
              <a:ext cx="2487701" cy="8891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Anglamark_Green_RGB_Low">
              <a:extLst>
                <a:ext uri="{FF2B5EF4-FFF2-40B4-BE49-F238E27FC236}">
                  <a16:creationId xmlns:a16="http://schemas.microsoft.com/office/drawing/2014/main" id="{51BBA206-A1D4-0ADC-733E-156436EAC93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83449" y="5430422"/>
              <a:ext cx="2073175" cy="34370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itle 2">
            <a:extLst>
              <a:ext uri="{FF2B5EF4-FFF2-40B4-BE49-F238E27FC236}">
                <a16:creationId xmlns:a16="http://schemas.microsoft.com/office/drawing/2014/main" id="{F22FD568-EF18-86D9-D420-707D987D7500}"/>
              </a:ext>
            </a:extLst>
          </p:cNvPr>
          <p:cNvSpPr txBox="1">
            <a:spLocks/>
          </p:cNvSpPr>
          <p:nvPr/>
        </p:nvSpPr>
        <p:spPr>
          <a:xfrm>
            <a:off x="6236286" y="1255726"/>
            <a:ext cx="5327064"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defPPr>
              <a:defRPr lang="en-US"/>
            </a:defPPr>
            <a:lvl1pPr>
              <a:defRPr b="1" i="0">
                <a:solidFill>
                  <a:srgbClr val="000000"/>
                </a:solidFill>
                <a:effectLst/>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a-DK"/>
              <a:t>Coop modtager global anerkendelse for energieffektivitet af Clean Energy </a:t>
            </a:r>
            <a:r>
              <a:rPr lang="da-DK" err="1"/>
              <a:t>Ministerial</a:t>
            </a:r>
            <a:r>
              <a:rPr lang="da-DK"/>
              <a:t> </a:t>
            </a:r>
          </a:p>
          <a:p>
            <a:endParaRPr lang="da-DK"/>
          </a:p>
          <a:p>
            <a:br>
              <a:rPr lang="da-DK"/>
            </a:br>
            <a:r>
              <a:rPr lang="da-DK" b="0"/>
              <a:t>Coop har reduceret sit energiforbrug med 24% siden 2016 og er blevet tildelt “Award of Excellence” fra Clean Energy </a:t>
            </a:r>
            <a:r>
              <a:rPr lang="da-DK" b="0" err="1"/>
              <a:t>Ministerial</a:t>
            </a:r>
            <a:r>
              <a:rPr lang="da-DK" b="0"/>
              <a:t> i 2023, som er en international organisation, der fremmer ren energi og klimahandling</a:t>
            </a:r>
          </a:p>
        </p:txBody>
      </p:sp>
      <p:pic>
        <p:nvPicPr>
          <p:cNvPr id="1026" name="Picture 2" descr="Coop vinder international energipris | Coop Danmark A/S">
            <a:extLst>
              <a:ext uri="{FF2B5EF4-FFF2-40B4-BE49-F238E27FC236}">
                <a16:creationId xmlns:a16="http://schemas.microsoft.com/office/drawing/2014/main" id="{BFC6A9BB-44BC-283A-402E-99B0B9918B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761164" y="4806534"/>
            <a:ext cx="2277308"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5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663861-8AA0-4594-9A02-435A0F052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BA663861-8AA0-4594-9A02-435A0F052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74E024-0F46-48AD-B7B0-A4134D362612}"/>
              </a:ext>
            </a:extLst>
          </p:cNvPr>
          <p:cNvSpPr>
            <a:spLocks noGrp="1"/>
          </p:cNvSpPr>
          <p:nvPr>
            <p:ph type="title"/>
          </p:nvPr>
        </p:nvSpPr>
        <p:spPr/>
        <p:txBody>
          <a:bodyPr vert="horz">
            <a:normAutofit/>
          </a:bodyPr>
          <a:lstStyle/>
          <a:p>
            <a:r>
              <a:rPr lang="da-DK"/>
              <a:t>Coop One</a:t>
            </a:r>
            <a:r>
              <a:rPr lang="da-DK" b="0"/>
              <a:t> | 1. september 2023 gik vi live med sidste rul af Coop One IT platformen efter 6 års indsats og en investering på +2 mia. DKK</a:t>
            </a:r>
          </a:p>
        </p:txBody>
      </p:sp>
      <p:sp>
        <p:nvSpPr>
          <p:cNvPr id="21" name="Billedforklaring: højrepil 14">
            <a:extLst>
              <a:ext uri="{FF2B5EF4-FFF2-40B4-BE49-F238E27FC236}">
                <a16:creationId xmlns:a16="http://schemas.microsoft.com/office/drawing/2014/main" id="{39FBBD63-9312-423C-A9E3-467CD52B2E76}"/>
              </a:ext>
            </a:extLst>
          </p:cNvPr>
          <p:cNvSpPr/>
          <p:nvPr/>
        </p:nvSpPr>
        <p:spPr>
          <a:xfrm>
            <a:off x="1034474" y="1481712"/>
            <a:ext cx="4139802" cy="4914388"/>
          </a:xfrm>
          <a:prstGeom prst="rightArrowCallout">
            <a:avLst>
              <a:gd name="adj1" fmla="val 31043"/>
              <a:gd name="adj2" fmla="val 36221"/>
              <a:gd name="adj3" fmla="val 8357"/>
              <a:gd name="adj4" fmla="val 86554"/>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Pladsholder til indhold 6" descr="Et billede, der indeholder tekst, skærmbillede, cirkel, Font/skrifttype&#10;&#10;Automatisk genereret beskrivelse">
            <a:extLst>
              <a:ext uri="{FF2B5EF4-FFF2-40B4-BE49-F238E27FC236}">
                <a16:creationId xmlns:a16="http://schemas.microsoft.com/office/drawing/2014/main" id="{72CD74E4-69B3-4E8F-9E2F-C8F859614611}"/>
              </a:ext>
            </a:extLst>
          </p:cNvPr>
          <p:cNvPicPr>
            <a:picLocks noChangeAspect="1"/>
          </p:cNvPicPr>
          <p:nvPr/>
        </p:nvPicPr>
        <p:blipFill>
          <a:blip r:embed="rId6"/>
          <a:stretch>
            <a:fillRect/>
          </a:stretch>
        </p:blipFill>
        <p:spPr>
          <a:xfrm>
            <a:off x="847149" y="1708791"/>
            <a:ext cx="3807992" cy="4548188"/>
          </a:xfrm>
          <a:prstGeom prst="rect">
            <a:avLst/>
          </a:prstGeom>
        </p:spPr>
      </p:pic>
      <p:grpSp>
        <p:nvGrpSpPr>
          <p:cNvPr id="8" name="Gruppe 79">
            <a:extLst>
              <a:ext uri="{FF2B5EF4-FFF2-40B4-BE49-F238E27FC236}">
                <a16:creationId xmlns:a16="http://schemas.microsoft.com/office/drawing/2014/main" id="{B6E9B90C-3B9B-750D-C657-A0BAAB045A4A}"/>
              </a:ext>
            </a:extLst>
          </p:cNvPr>
          <p:cNvGrpSpPr/>
          <p:nvPr/>
        </p:nvGrpSpPr>
        <p:grpSpPr>
          <a:xfrm>
            <a:off x="10110542" y="2464543"/>
            <a:ext cx="1380494" cy="927945"/>
            <a:chOff x="6260961" y="5953427"/>
            <a:chExt cx="1380493" cy="927945"/>
          </a:xfrm>
        </p:grpSpPr>
        <p:sp>
          <p:nvSpPr>
            <p:cNvPr id="9" name="Tekstfelt 66">
              <a:extLst>
                <a:ext uri="{FF2B5EF4-FFF2-40B4-BE49-F238E27FC236}">
                  <a16:creationId xmlns:a16="http://schemas.microsoft.com/office/drawing/2014/main" id="{4F582019-3C7C-8450-EB01-1F72F83DC865}"/>
                </a:ext>
              </a:extLst>
            </p:cNvPr>
            <p:cNvSpPr txBox="1"/>
            <p:nvPr/>
          </p:nvSpPr>
          <p:spPr>
            <a:xfrm>
              <a:off x="6260961" y="6465874"/>
              <a:ext cx="1380493" cy="415498"/>
            </a:xfrm>
            <a:prstGeom prst="rect">
              <a:avLst/>
            </a:prstGeom>
            <a:noFill/>
          </p:spPr>
          <p:txBody>
            <a:bodyPr wrap="square" lIns="0" tIns="0" rIns="0" bIns="0" rtlCol="0">
              <a:spAutoFit/>
            </a:bodyPr>
            <a:lstStyle/>
            <a:p>
              <a:pPr lvl="0" algn="ctr">
                <a:defRPr/>
              </a:pPr>
              <a:r>
                <a:rPr lang="da-DK" sz="900" b="1">
                  <a:solidFill>
                    <a:srgbClr val="000000"/>
                  </a:solidFill>
                </a:rPr>
                <a:t>50+ samarbejdende </a:t>
              </a:r>
              <a:r>
                <a:rPr lang="da-DK" sz="900">
                  <a:solidFill>
                    <a:srgbClr val="000000"/>
                  </a:solidFill>
                </a:rPr>
                <a:t>konsulentvirksomheder fra hele verden</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0" name="Grafik 75" descr="Håndtryk med massiv udfyldning">
              <a:extLst>
                <a:ext uri="{FF2B5EF4-FFF2-40B4-BE49-F238E27FC236}">
                  <a16:creationId xmlns:a16="http://schemas.microsoft.com/office/drawing/2014/main" id="{8A00D5BC-A1A5-BBBE-71F5-CDF6DEF61C9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74233" y="5953427"/>
              <a:ext cx="553950" cy="553950"/>
            </a:xfrm>
            <a:prstGeom prst="rect">
              <a:avLst/>
            </a:prstGeom>
          </p:spPr>
        </p:pic>
      </p:grpSp>
      <p:grpSp>
        <p:nvGrpSpPr>
          <p:cNvPr id="12" name="Gruppe 91">
            <a:extLst>
              <a:ext uri="{FF2B5EF4-FFF2-40B4-BE49-F238E27FC236}">
                <a16:creationId xmlns:a16="http://schemas.microsoft.com/office/drawing/2014/main" id="{FD142EFB-051C-4483-DB99-556D7FB34968}"/>
              </a:ext>
            </a:extLst>
          </p:cNvPr>
          <p:cNvGrpSpPr/>
          <p:nvPr/>
        </p:nvGrpSpPr>
        <p:grpSpPr>
          <a:xfrm>
            <a:off x="6225105" y="2309061"/>
            <a:ext cx="1705674" cy="1181393"/>
            <a:chOff x="10191529" y="1292060"/>
            <a:chExt cx="1705674" cy="1181392"/>
          </a:xfrm>
        </p:grpSpPr>
        <p:sp>
          <p:nvSpPr>
            <p:cNvPr id="13" name="Tekstfelt 52">
              <a:extLst>
                <a:ext uri="{FF2B5EF4-FFF2-40B4-BE49-F238E27FC236}">
                  <a16:creationId xmlns:a16="http://schemas.microsoft.com/office/drawing/2014/main" id="{4DCB0251-9655-68AB-E5E8-467E84E71F2A}"/>
                </a:ext>
              </a:extLst>
            </p:cNvPr>
            <p:cNvSpPr txBox="1"/>
            <p:nvPr/>
          </p:nvSpPr>
          <p:spPr>
            <a:xfrm>
              <a:off x="10191529" y="1919454"/>
              <a:ext cx="1705674" cy="553998"/>
            </a:xfrm>
            <a:prstGeom prst="rect">
              <a:avLst/>
            </a:prstGeom>
            <a:noFill/>
          </p:spPr>
          <p:txBody>
            <a:bodyPr wrap="square" lIns="0" tIns="0" rIns="0" bIns="0" rtlCol="0">
              <a:spAutoFit/>
            </a:bodyPr>
            <a:lstStyle/>
            <a:p>
              <a:pPr lvl="0" algn="ctr">
                <a:defRPr/>
              </a:pPr>
              <a:r>
                <a:rPr lang="da-DK" sz="900" b="1">
                  <a:solidFill>
                    <a:srgbClr val="000000"/>
                  </a:solidFill>
                </a:rPr>
                <a:t>200.000+ varer - </a:t>
              </a:r>
              <a:r>
                <a:rPr lang="da-DK" sz="900">
                  <a:solidFill>
                    <a:srgbClr val="000000"/>
                  </a:solidFill>
                </a:rPr>
                <a:t>historisk (seneste 2 år) &amp; nutid - fra både butikker og online blev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4" name="Grafik 83" descr="Lager med massiv udfyldning">
              <a:extLst>
                <a:ext uri="{FF2B5EF4-FFF2-40B4-BE49-F238E27FC236}">
                  <a16:creationId xmlns:a16="http://schemas.microsoft.com/office/drawing/2014/main" id="{B453C718-66CE-E00A-5343-B6AA02BB4E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40728" y="1292060"/>
              <a:ext cx="607277" cy="607277"/>
            </a:xfrm>
            <a:prstGeom prst="rect">
              <a:avLst/>
            </a:prstGeom>
          </p:spPr>
        </p:pic>
      </p:grpSp>
      <p:grpSp>
        <p:nvGrpSpPr>
          <p:cNvPr id="15" name="Gruppe 92">
            <a:extLst>
              <a:ext uri="{FF2B5EF4-FFF2-40B4-BE49-F238E27FC236}">
                <a16:creationId xmlns:a16="http://schemas.microsoft.com/office/drawing/2014/main" id="{4E46831E-89FA-E134-D36D-4B4A8A7F8F7C}"/>
              </a:ext>
            </a:extLst>
          </p:cNvPr>
          <p:cNvGrpSpPr/>
          <p:nvPr/>
        </p:nvGrpSpPr>
        <p:grpSpPr>
          <a:xfrm>
            <a:off x="10116064" y="3457170"/>
            <a:ext cx="1369451" cy="1823428"/>
            <a:chOff x="8088120" y="2843329"/>
            <a:chExt cx="1369451" cy="1823426"/>
          </a:xfrm>
        </p:grpSpPr>
        <p:sp>
          <p:nvSpPr>
            <p:cNvPr id="16" name="Tekstfelt 70">
              <a:extLst>
                <a:ext uri="{FF2B5EF4-FFF2-40B4-BE49-F238E27FC236}">
                  <a16:creationId xmlns:a16="http://schemas.microsoft.com/office/drawing/2014/main" id="{1B572561-3876-1A28-5AB3-E4AE0A335833}"/>
                </a:ext>
              </a:extLst>
            </p:cNvPr>
            <p:cNvSpPr txBox="1"/>
            <p:nvPr/>
          </p:nvSpPr>
          <p:spPr>
            <a:xfrm>
              <a:off x="8088120" y="3558760"/>
              <a:ext cx="1369451" cy="1107995"/>
            </a:xfrm>
            <a:prstGeom prst="rect">
              <a:avLst/>
            </a:prstGeom>
            <a:noFill/>
          </p:spPr>
          <p:txBody>
            <a:bodyPr wrap="square" lIns="0" tIns="0" rIns="0" bIns="0" rtlCol="0">
              <a:spAutoFit/>
            </a:bodyPr>
            <a:lstStyle/>
            <a:p>
              <a:pPr lvl="0" algn="ctr">
                <a:defRPr/>
              </a:pPr>
              <a:r>
                <a:rPr lang="da-DK" sz="900" b="1">
                  <a:solidFill>
                    <a:srgbClr val="000000"/>
                  </a:solidFill>
                </a:rPr>
                <a:t>5 interne distributionscentre og 6 eksterne distributionscentre
i</a:t>
              </a:r>
              <a:r>
                <a:rPr lang="da-DK" sz="900">
                  <a:solidFill>
                    <a:srgbClr val="000000"/>
                  </a:solidFill>
                </a:rPr>
                <a:t>ntegreret i Coop SAP-løsningen for at sikre varelevering i butikkerne</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7" name="Grafik 85" descr="Lager med massiv udfyldning">
              <a:extLst>
                <a:ext uri="{FF2B5EF4-FFF2-40B4-BE49-F238E27FC236}">
                  <a16:creationId xmlns:a16="http://schemas.microsoft.com/office/drawing/2014/main" id="{062A618C-F84B-677E-DDBB-1153ACDBFB3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4750" y="2843329"/>
              <a:ext cx="696191" cy="696191"/>
            </a:xfrm>
            <a:prstGeom prst="rect">
              <a:avLst/>
            </a:prstGeom>
          </p:spPr>
        </p:pic>
      </p:grpSp>
      <p:grpSp>
        <p:nvGrpSpPr>
          <p:cNvPr id="18" name="Gruppe 80">
            <a:extLst>
              <a:ext uri="{FF2B5EF4-FFF2-40B4-BE49-F238E27FC236}">
                <a16:creationId xmlns:a16="http://schemas.microsoft.com/office/drawing/2014/main" id="{87658DE3-B296-32A4-6614-0C31A58BD377}"/>
              </a:ext>
            </a:extLst>
          </p:cNvPr>
          <p:cNvGrpSpPr/>
          <p:nvPr/>
        </p:nvGrpSpPr>
        <p:grpSpPr>
          <a:xfrm>
            <a:off x="8149276" y="3608777"/>
            <a:ext cx="1720974" cy="2387152"/>
            <a:chOff x="10184818" y="4071918"/>
            <a:chExt cx="1720974" cy="2387151"/>
          </a:xfrm>
        </p:grpSpPr>
        <p:sp>
          <p:nvSpPr>
            <p:cNvPr id="26" name="Tekstfelt 70">
              <a:extLst>
                <a:ext uri="{FF2B5EF4-FFF2-40B4-BE49-F238E27FC236}">
                  <a16:creationId xmlns:a16="http://schemas.microsoft.com/office/drawing/2014/main" id="{654EC8C1-10EE-2A19-11FC-2F4E48E49345}"/>
                </a:ext>
              </a:extLst>
            </p:cNvPr>
            <p:cNvSpPr txBox="1"/>
            <p:nvPr/>
          </p:nvSpPr>
          <p:spPr>
            <a:xfrm>
              <a:off x="10184818" y="4658577"/>
              <a:ext cx="1720974" cy="1800492"/>
            </a:xfrm>
            <a:prstGeom prst="rect">
              <a:avLst/>
            </a:prstGeom>
            <a:noFill/>
          </p:spPr>
          <p:txBody>
            <a:bodyPr wrap="square" lIns="0" tIns="0" rIns="0" bIns="0" rtlCol="0">
              <a:spAutoFit/>
            </a:bodyPr>
            <a:lstStyle/>
            <a:p>
              <a:pPr lvl="0" algn="ctr">
                <a:defRPr/>
              </a:pPr>
              <a:r>
                <a:rPr lang="da-DK" sz="900" b="1">
                  <a:solidFill>
                    <a:srgbClr val="000000"/>
                  </a:solidFill>
                </a:rPr>
                <a:t>Følgende SAP-systemer er blevet anvendt</a:t>
              </a:r>
            </a:p>
            <a:p>
              <a:pPr marL="628682" lvl="1" indent="-171458">
                <a:buFont typeface="Arial" panose="020B0604020202020204" pitchFamily="34" charset="0"/>
                <a:buChar char="•"/>
                <a:defRPr/>
              </a:pPr>
              <a:r>
                <a:rPr lang="da-DK" sz="900">
                  <a:solidFill>
                    <a:srgbClr val="000000"/>
                  </a:solidFill>
                  <a:latin typeface="COOP"/>
                </a:rPr>
                <a:t>SAP S/4 (1809)</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CAR</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BW/4</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EW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T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Fiori</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GTS</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PO</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DS</a:t>
              </a:r>
            </a:p>
            <a:p>
              <a:pPr lvl="0" algn="ctr">
                <a:defRPr/>
              </a:pPr>
              <a:r>
                <a:rPr lang="da-DK" sz="900">
                  <a:solidFill>
                    <a:srgbClr val="000000"/>
                  </a:solidFill>
                </a:rPr>
                <a:t>Suppleret med løsninger fra Stibo og Relex.</a:t>
              </a:r>
              <a:endParaRPr kumimoji="0" lang="da-DK" sz="9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fik 87" descr="Computer med massiv udfyldning">
              <a:extLst>
                <a:ext uri="{FF2B5EF4-FFF2-40B4-BE49-F238E27FC236}">
                  <a16:creationId xmlns:a16="http://schemas.microsoft.com/office/drawing/2014/main" id="{44D51025-FCCD-4EFF-B46A-A5236B2A58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25419" y="4071918"/>
              <a:ext cx="639773" cy="639773"/>
            </a:xfrm>
            <a:prstGeom prst="rect">
              <a:avLst/>
            </a:prstGeom>
          </p:spPr>
        </p:pic>
      </p:grpSp>
      <p:grpSp>
        <p:nvGrpSpPr>
          <p:cNvPr id="28" name="Gruppe 90">
            <a:extLst>
              <a:ext uri="{FF2B5EF4-FFF2-40B4-BE49-F238E27FC236}">
                <a16:creationId xmlns:a16="http://schemas.microsoft.com/office/drawing/2014/main" id="{43FE06B1-2C01-C82E-B245-DF1CD5BFDD9D}"/>
              </a:ext>
            </a:extLst>
          </p:cNvPr>
          <p:cNvGrpSpPr/>
          <p:nvPr/>
        </p:nvGrpSpPr>
        <p:grpSpPr>
          <a:xfrm>
            <a:off x="6320723" y="1236532"/>
            <a:ext cx="1514438" cy="991391"/>
            <a:chOff x="6192842" y="655379"/>
            <a:chExt cx="1514438" cy="991391"/>
          </a:xfrm>
        </p:grpSpPr>
        <p:sp>
          <p:nvSpPr>
            <p:cNvPr id="29" name="Tekstfelt 21">
              <a:extLst>
                <a:ext uri="{FF2B5EF4-FFF2-40B4-BE49-F238E27FC236}">
                  <a16:creationId xmlns:a16="http://schemas.microsoft.com/office/drawing/2014/main" id="{16F7BAEA-C59E-84BB-394C-8ABB34E2BAAF}"/>
                </a:ext>
              </a:extLst>
            </p:cNvPr>
            <p:cNvSpPr txBox="1"/>
            <p:nvPr/>
          </p:nvSpPr>
          <p:spPr>
            <a:xfrm>
              <a:off x="6192842" y="1231272"/>
              <a:ext cx="1514438" cy="415498"/>
            </a:xfrm>
            <a:prstGeom prst="rect">
              <a:avLst/>
            </a:prstGeom>
            <a:noFill/>
          </p:spPr>
          <p:txBody>
            <a:bodyPr wrap="square" lIns="0" tIns="0" rIns="0" bIns="0" rtlCol="0">
              <a:spAutoFit/>
            </a:bodyPr>
            <a:lstStyle/>
            <a:p>
              <a:pPr lvl="0" algn="ctr">
                <a:defRPr/>
              </a:pPr>
              <a:r>
                <a:rPr lang="da-DK" sz="900" b="1">
                  <a:solidFill>
                    <a:srgbClr val="000000"/>
                  </a:solidFill>
                </a:rPr>
                <a:t>1500+ deltagere </a:t>
              </a:r>
              <a:r>
                <a:rPr lang="da-DK" sz="900">
                  <a:solidFill>
                    <a:srgbClr val="000000"/>
                  </a:solidFill>
                </a:rPr>
                <a:t>på Coop One programmet (fuldtid &amp; deltid)</a:t>
              </a:r>
              <a:endParaRPr kumimoji="0" lang="da-DK" sz="1050" i="0" u="none" strike="noStrike" kern="1200" cap="none" spc="0" normalizeH="0" baseline="0" noProof="0">
                <a:ln>
                  <a:noFill/>
                </a:ln>
                <a:solidFill>
                  <a:srgbClr val="000000"/>
                </a:solidFill>
                <a:effectLst/>
                <a:uLnTx/>
                <a:uFillTx/>
                <a:latin typeface="COOP"/>
                <a:ea typeface="+mn-ea"/>
                <a:cs typeface="+mn-cs"/>
              </a:endParaRPr>
            </a:p>
          </p:txBody>
        </p:sp>
        <p:pic>
          <p:nvPicPr>
            <p:cNvPr id="30" name="Grafik 89" descr="Brugere med massiv udfyldning">
              <a:extLst>
                <a:ext uri="{FF2B5EF4-FFF2-40B4-BE49-F238E27FC236}">
                  <a16:creationId xmlns:a16="http://schemas.microsoft.com/office/drawing/2014/main" id="{6B45FC02-F94C-831F-F649-650A9E7C36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11892" y="655379"/>
              <a:ext cx="676338" cy="676338"/>
            </a:xfrm>
            <a:prstGeom prst="rect">
              <a:avLst/>
            </a:prstGeom>
          </p:spPr>
        </p:pic>
      </p:grpSp>
      <p:grpSp>
        <p:nvGrpSpPr>
          <p:cNvPr id="31" name="Gruppe 98">
            <a:extLst>
              <a:ext uri="{FF2B5EF4-FFF2-40B4-BE49-F238E27FC236}">
                <a16:creationId xmlns:a16="http://schemas.microsoft.com/office/drawing/2014/main" id="{ADBB2B7D-59F7-5C09-571B-B4F6197EF66F}"/>
              </a:ext>
            </a:extLst>
          </p:cNvPr>
          <p:cNvGrpSpPr/>
          <p:nvPr/>
        </p:nvGrpSpPr>
        <p:grpSpPr>
          <a:xfrm>
            <a:off x="10075965" y="1353556"/>
            <a:ext cx="1449649" cy="856438"/>
            <a:chOff x="10298549" y="551035"/>
            <a:chExt cx="1449649" cy="856438"/>
          </a:xfrm>
        </p:grpSpPr>
        <p:sp>
          <p:nvSpPr>
            <p:cNvPr id="32" name="Tekstfelt 70">
              <a:extLst>
                <a:ext uri="{FF2B5EF4-FFF2-40B4-BE49-F238E27FC236}">
                  <a16:creationId xmlns:a16="http://schemas.microsoft.com/office/drawing/2014/main" id="{DCE91EBB-C48D-7129-020C-DD1086B8A8DC}"/>
                </a:ext>
              </a:extLst>
            </p:cNvPr>
            <p:cNvSpPr txBox="1"/>
            <p:nvPr/>
          </p:nvSpPr>
          <p:spPr>
            <a:xfrm>
              <a:off x="10298549" y="991975"/>
              <a:ext cx="1449649" cy="415498"/>
            </a:xfrm>
            <a:prstGeom prst="rect">
              <a:avLst/>
            </a:prstGeom>
            <a:noFill/>
          </p:spPr>
          <p:txBody>
            <a:bodyPr wrap="square" lIns="0" tIns="0" rIns="0" bIns="0" rtlCol="0">
              <a:spAutoFit/>
            </a:bodyPr>
            <a:lstStyle/>
            <a:p>
              <a:pPr lvl="0" algn="ctr">
                <a:defRPr/>
              </a:pPr>
              <a:r>
                <a:rPr lang="da-DK" sz="900" b="1">
                  <a:solidFill>
                    <a:srgbClr val="000000"/>
                  </a:solidFill>
                </a:rPr>
                <a:t>1.200.000+ timer </a:t>
              </a:r>
              <a:r>
                <a:rPr lang="da-DK" sz="900">
                  <a:solidFill>
                    <a:srgbClr val="000000"/>
                  </a:solidFill>
                </a:rPr>
                <a:t>brugt på eksekvering af Coop One programmet</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3" name="Grafik 96" descr="Timeglas 90% med massiv udfyldning">
              <a:extLst>
                <a:ext uri="{FF2B5EF4-FFF2-40B4-BE49-F238E27FC236}">
                  <a16:creationId xmlns:a16="http://schemas.microsoft.com/office/drawing/2014/main" id="{3AC151A9-2D91-6873-413B-F3A8C24BD057}"/>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791384" y="551035"/>
              <a:ext cx="463979" cy="463979"/>
            </a:xfrm>
            <a:prstGeom prst="rect">
              <a:avLst/>
            </a:prstGeom>
          </p:spPr>
        </p:pic>
      </p:grpSp>
      <p:grpSp>
        <p:nvGrpSpPr>
          <p:cNvPr id="34" name="Gruppe 82">
            <a:extLst>
              <a:ext uri="{FF2B5EF4-FFF2-40B4-BE49-F238E27FC236}">
                <a16:creationId xmlns:a16="http://schemas.microsoft.com/office/drawing/2014/main" id="{6EE5171D-758B-38A7-0E59-B9E590E82423}"/>
              </a:ext>
            </a:extLst>
          </p:cNvPr>
          <p:cNvGrpSpPr/>
          <p:nvPr/>
        </p:nvGrpSpPr>
        <p:grpSpPr>
          <a:xfrm>
            <a:off x="8151476" y="1328942"/>
            <a:ext cx="1556743" cy="881871"/>
            <a:chOff x="6288551" y="4886408"/>
            <a:chExt cx="1556743" cy="881869"/>
          </a:xfrm>
        </p:grpSpPr>
        <p:sp>
          <p:nvSpPr>
            <p:cNvPr id="35" name="Tekstfelt 70">
              <a:extLst>
                <a:ext uri="{FF2B5EF4-FFF2-40B4-BE49-F238E27FC236}">
                  <a16:creationId xmlns:a16="http://schemas.microsoft.com/office/drawing/2014/main" id="{9035ED5A-6F0C-3BC6-E2D7-79D86246D7C5}"/>
                </a:ext>
              </a:extLst>
            </p:cNvPr>
            <p:cNvSpPr txBox="1"/>
            <p:nvPr/>
          </p:nvSpPr>
          <p:spPr>
            <a:xfrm>
              <a:off x="6288551" y="5352780"/>
              <a:ext cx="1556743" cy="415497"/>
            </a:xfrm>
            <a:prstGeom prst="rect">
              <a:avLst/>
            </a:prstGeom>
            <a:noFill/>
          </p:spPr>
          <p:txBody>
            <a:bodyPr wrap="square" lIns="0" tIns="0" rIns="0" bIns="0" rtlCol="0">
              <a:spAutoFit/>
            </a:bodyPr>
            <a:lstStyle/>
            <a:p>
              <a:pPr lvl="0" algn="ctr">
                <a:defRPr/>
              </a:pPr>
              <a:r>
                <a:rPr lang="da-DK" sz="900" b="1">
                  <a:solidFill>
                    <a:srgbClr val="000000"/>
                  </a:solidFill>
                </a:rPr>
                <a:t>16.450+ medarbejdere har fået træning </a:t>
              </a:r>
              <a:r>
                <a:rPr lang="da-DK" sz="900">
                  <a:solidFill>
                    <a:srgbClr val="000000"/>
                  </a:solidFill>
                </a:rPr>
                <a:t>i</a:t>
              </a:r>
              <a:r>
                <a:rPr lang="da-DK" sz="900" b="1">
                  <a:solidFill>
                    <a:srgbClr val="000000"/>
                  </a:solidFill>
                </a:rPr>
                <a:t> </a:t>
              </a:r>
              <a:r>
                <a:rPr lang="da-DK" sz="900">
                  <a:solidFill>
                    <a:srgbClr val="000000"/>
                  </a:solidFill>
                </a:rPr>
                <a:t>løbet af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6" name="Grafik 100" descr="Lærer med massiv udfyldning">
              <a:extLst>
                <a:ext uri="{FF2B5EF4-FFF2-40B4-BE49-F238E27FC236}">
                  <a16:creationId xmlns:a16="http://schemas.microsoft.com/office/drawing/2014/main" id="{52D1CEFC-4768-6D63-4232-57648127CF82}"/>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790692" y="4886408"/>
              <a:ext cx="552460" cy="552460"/>
            </a:xfrm>
            <a:prstGeom prst="rect">
              <a:avLst/>
            </a:prstGeom>
          </p:spPr>
        </p:pic>
      </p:grpSp>
      <p:grpSp>
        <p:nvGrpSpPr>
          <p:cNvPr id="37" name="Gruppe 76">
            <a:extLst>
              <a:ext uri="{FF2B5EF4-FFF2-40B4-BE49-F238E27FC236}">
                <a16:creationId xmlns:a16="http://schemas.microsoft.com/office/drawing/2014/main" id="{F263488F-0F0A-772D-DF7E-C1A4C53FE750}"/>
              </a:ext>
            </a:extLst>
          </p:cNvPr>
          <p:cNvGrpSpPr/>
          <p:nvPr/>
        </p:nvGrpSpPr>
        <p:grpSpPr>
          <a:xfrm>
            <a:off x="6225105" y="5121939"/>
            <a:ext cx="1705674" cy="1100894"/>
            <a:chOff x="10227551" y="2691777"/>
            <a:chExt cx="1705674" cy="1100895"/>
          </a:xfrm>
        </p:grpSpPr>
        <p:sp>
          <p:nvSpPr>
            <p:cNvPr id="38" name="Tekstfelt 69">
              <a:extLst>
                <a:ext uri="{FF2B5EF4-FFF2-40B4-BE49-F238E27FC236}">
                  <a16:creationId xmlns:a16="http://schemas.microsoft.com/office/drawing/2014/main" id="{C86B0B81-6B8C-5B2C-E4B6-FD2B2823C58F}"/>
                </a:ext>
              </a:extLst>
            </p:cNvPr>
            <p:cNvSpPr txBox="1"/>
            <p:nvPr/>
          </p:nvSpPr>
          <p:spPr>
            <a:xfrm>
              <a:off x="10227551" y="3238674"/>
              <a:ext cx="1705674" cy="553998"/>
            </a:xfrm>
            <a:prstGeom prst="rect">
              <a:avLst/>
            </a:prstGeom>
            <a:noFill/>
          </p:spPr>
          <p:txBody>
            <a:bodyPr wrap="square" lIns="0" tIns="0" rIns="0" bIns="0" rtlCol="0">
              <a:spAutoFit/>
            </a:bodyPr>
            <a:lstStyle/>
            <a:p>
              <a:pPr lvl="0" algn="ctr">
                <a:defRPr/>
              </a:pPr>
              <a:r>
                <a:rPr lang="da-DK" sz="900" b="1">
                  <a:solidFill>
                    <a:srgbClr val="000000"/>
                  </a:solidFill>
                </a:rPr>
                <a:t>Systemer og funktioner, </a:t>
              </a:r>
              <a:r>
                <a:rPr lang="da-DK" sz="900">
                  <a:solidFill>
                    <a:srgbClr val="000000"/>
                  </a:solidFill>
                </a:rPr>
                <a:t>anvendes inden for kategori, logistik, økonomi, butikker og teknologi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9" name="Grafik 106" descr="Netværksdiagram med massiv udfyldning">
              <a:extLst>
                <a:ext uri="{FF2B5EF4-FFF2-40B4-BE49-F238E27FC236}">
                  <a16:creationId xmlns:a16="http://schemas.microsoft.com/office/drawing/2014/main" id="{D3D4793E-BF15-54F8-7B7F-A860A0F2DF8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804158" y="2691777"/>
              <a:ext cx="552460" cy="552460"/>
            </a:xfrm>
            <a:prstGeom prst="rect">
              <a:avLst/>
            </a:prstGeom>
          </p:spPr>
        </p:pic>
      </p:grpSp>
      <p:grpSp>
        <p:nvGrpSpPr>
          <p:cNvPr id="48" name="Group 47">
            <a:extLst>
              <a:ext uri="{FF2B5EF4-FFF2-40B4-BE49-F238E27FC236}">
                <a16:creationId xmlns:a16="http://schemas.microsoft.com/office/drawing/2014/main" id="{83C77D51-96F9-04BF-93C3-F0E8617F3DE8}"/>
              </a:ext>
            </a:extLst>
          </p:cNvPr>
          <p:cNvGrpSpPr/>
          <p:nvPr/>
        </p:nvGrpSpPr>
        <p:grpSpPr>
          <a:xfrm>
            <a:off x="6230062" y="3663646"/>
            <a:ext cx="1695761" cy="1090263"/>
            <a:chOff x="6227043" y="2189933"/>
            <a:chExt cx="1695761" cy="1090263"/>
          </a:xfrm>
        </p:grpSpPr>
        <p:sp>
          <p:nvSpPr>
            <p:cNvPr id="6" name="Tekstfelt 50">
              <a:extLst>
                <a:ext uri="{FF2B5EF4-FFF2-40B4-BE49-F238E27FC236}">
                  <a16:creationId xmlns:a16="http://schemas.microsoft.com/office/drawing/2014/main" id="{2D2E8CA3-6856-8C79-FB29-B220083476F8}"/>
                </a:ext>
              </a:extLst>
            </p:cNvPr>
            <p:cNvSpPr txBox="1"/>
            <p:nvPr/>
          </p:nvSpPr>
          <p:spPr>
            <a:xfrm>
              <a:off x="6227043" y="2726198"/>
              <a:ext cx="1695761" cy="553998"/>
            </a:xfrm>
            <a:prstGeom prst="rect">
              <a:avLst/>
            </a:prstGeom>
            <a:noFill/>
          </p:spPr>
          <p:txBody>
            <a:bodyPr wrap="square" lIns="0" tIns="0" rIns="0" bIns="0" rtlCol="0">
              <a:spAutoFit/>
            </a:bodyPr>
            <a:lstStyle/>
            <a:p>
              <a:pPr lvl="0" algn="ctr">
                <a:defRPr/>
              </a:pPr>
              <a:r>
                <a:rPr lang="da-DK" sz="900" b="1">
                  <a:solidFill>
                    <a:srgbClr val="000000"/>
                  </a:solidFill>
                </a:rPr>
                <a:t>Internationalt program. </a:t>
              </a:r>
              <a:r>
                <a:rPr lang="da-DK" sz="900">
                  <a:solidFill>
                    <a:srgbClr val="000000"/>
                  </a:solidFill>
                </a:rPr>
                <a:t>Team medlemmer fra hele verden (23 forskellige lande verden ov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0" name="Grafik 108" descr="Jordklode: Afrika og Europa med massiv udfyldning">
              <a:extLst>
                <a:ext uri="{FF2B5EF4-FFF2-40B4-BE49-F238E27FC236}">
                  <a16:creationId xmlns:a16="http://schemas.microsoft.com/office/drawing/2014/main" id="{E726F5CD-775E-E57D-1C15-57F48BE3E98F}"/>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798693" y="2189933"/>
              <a:ext cx="552460" cy="552460"/>
            </a:xfrm>
            <a:prstGeom prst="rect">
              <a:avLst/>
            </a:prstGeom>
          </p:spPr>
        </p:pic>
      </p:grpSp>
      <p:grpSp>
        <p:nvGrpSpPr>
          <p:cNvPr id="41" name="Gruppe 81">
            <a:extLst>
              <a:ext uri="{FF2B5EF4-FFF2-40B4-BE49-F238E27FC236}">
                <a16:creationId xmlns:a16="http://schemas.microsoft.com/office/drawing/2014/main" id="{41273FC1-8722-EF47-6F18-412E809C433C}"/>
              </a:ext>
            </a:extLst>
          </p:cNvPr>
          <p:cNvGrpSpPr/>
          <p:nvPr/>
        </p:nvGrpSpPr>
        <p:grpSpPr>
          <a:xfrm>
            <a:off x="8076886" y="2491250"/>
            <a:ext cx="1631333" cy="874522"/>
            <a:chOff x="8267388" y="3776016"/>
            <a:chExt cx="1631333" cy="874522"/>
          </a:xfrm>
        </p:grpSpPr>
        <p:sp>
          <p:nvSpPr>
            <p:cNvPr id="42" name="Tekstfelt 70">
              <a:extLst>
                <a:ext uri="{FF2B5EF4-FFF2-40B4-BE49-F238E27FC236}">
                  <a16:creationId xmlns:a16="http://schemas.microsoft.com/office/drawing/2014/main" id="{40A83512-379C-B9A8-34CC-CF257AFB7613}"/>
                </a:ext>
              </a:extLst>
            </p:cNvPr>
            <p:cNvSpPr txBox="1"/>
            <p:nvPr/>
          </p:nvSpPr>
          <p:spPr>
            <a:xfrm>
              <a:off x="8267388" y="4235040"/>
              <a:ext cx="1631333" cy="415498"/>
            </a:xfrm>
            <a:prstGeom prst="rect">
              <a:avLst/>
            </a:prstGeom>
            <a:noFill/>
          </p:spPr>
          <p:txBody>
            <a:bodyPr wrap="square" lIns="0" tIns="0" rIns="0" bIns="0" rtlCol="0">
              <a:spAutoFit/>
            </a:bodyPr>
            <a:lstStyle/>
            <a:p>
              <a:pPr lvl="0" algn="ctr">
                <a:defRPr/>
              </a:pPr>
              <a:r>
                <a:rPr lang="da-DK" sz="900" b="1">
                  <a:solidFill>
                    <a:srgbClr val="000000"/>
                  </a:solidFill>
                </a:rPr>
                <a:t>650+ anmodninger om ændringer </a:t>
              </a:r>
              <a:r>
                <a:rPr lang="da-DK" sz="900">
                  <a:solidFill>
                    <a:srgbClr val="000000"/>
                  </a:solidFill>
                </a:rPr>
                <a:t>behandlet i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3" name="Grafik 110" descr="Overførsel med massiv udfyldning">
              <a:extLst>
                <a:ext uri="{FF2B5EF4-FFF2-40B4-BE49-F238E27FC236}">
                  <a16:creationId xmlns:a16="http://schemas.microsoft.com/office/drawing/2014/main" id="{5ADB0546-1DA8-3F6F-7E72-81801610185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827438" y="3776016"/>
              <a:ext cx="511233" cy="511233"/>
            </a:xfrm>
            <a:prstGeom prst="rect">
              <a:avLst/>
            </a:prstGeom>
          </p:spPr>
        </p:pic>
      </p:grpSp>
      <p:grpSp>
        <p:nvGrpSpPr>
          <p:cNvPr id="49" name="Group 48">
            <a:extLst>
              <a:ext uri="{FF2B5EF4-FFF2-40B4-BE49-F238E27FC236}">
                <a16:creationId xmlns:a16="http://schemas.microsoft.com/office/drawing/2014/main" id="{502EEAC0-92A9-0457-681E-F23B9CD8F1B1}"/>
              </a:ext>
            </a:extLst>
          </p:cNvPr>
          <p:cNvGrpSpPr/>
          <p:nvPr/>
        </p:nvGrpSpPr>
        <p:grpSpPr>
          <a:xfrm>
            <a:off x="10043570" y="5232537"/>
            <a:ext cx="1514438" cy="1097499"/>
            <a:chOff x="8193779" y="1025669"/>
            <a:chExt cx="1514438" cy="1097499"/>
          </a:xfrm>
        </p:grpSpPr>
        <p:sp>
          <p:nvSpPr>
            <p:cNvPr id="7" name="Tekstfelt 51">
              <a:extLst>
                <a:ext uri="{FF2B5EF4-FFF2-40B4-BE49-F238E27FC236}">
                  <a16:creationId xmlns:a16="http://schemas.microsoft.com/office/drawing/2014/main" id="{FB5866F8-5E6F-1303-7ED1-9089AD3976C8}"/>
                </a:ext>
              </a:extLst>
            </p:cNvPr>
            <p:cNvSpPr txBox="1"/>
            <p:nvPr/>
          </p:nvSpPr>
          <p:spPr>
            <a:xfrm>
              <a:off x="8193779" y="1569170"/>
              <a:ext cx="1514438" cy="553998"/>
            </a:xfrm>
            <a:prstGeom prst="rect">
              <a:avLst/>
            </a:prstGeom>
            <a:noFill/>
          </p:spPr>
          <p:txBody>
            <a:bodyPr wrap="square" lIns="0" tIns="0" rIns="0" bIns="0" rtlCol="0">
              <a:spAutoFit/>
            </a:bodyPr>
            <a:lstStyle/>
            <a:p>
              <a:pPr lvl="0" algn="ctr">
                <a:defRPr/>
              </a:pPr>
              <a:r>
                <a:rPr lang="da-DK" sz="900" b="1">
                  <a:solidFill>
                    <a:srgbClr val="000000"/>
                  </a:solidFill>
                </a:rPr>
                <a:t>Lokation på servicekontoret, </a:t>
              </a:r>
              <a:r>
                <a:rPr lang="da-DK" sz="900">
                  <a:solidFill>
                    <a:srgbClr val="000000"/>
                  </a:solidFill>
                </a:rPr>
                <a:t>Albertslund, Danmark. 320+ plads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7" name="Grafik 55" descr="Kort med knappenål med massiv udfyldning">
              <a:extLst>
                <a:ext uri="{FF2B5EF4-FFF2-40B4-BE49-F238E27FC236}">
                  <a16:creationId xmlns:a16="http://schemas.microsoft.com/office/drawing/2014/main" id="{35A2B964-DFDB-08BE-8335-4FA29A409BD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642282" y="1025669"/>
              <a:ext cx="617433" cy="617433"/>
            </a:xfrm>
            <a:prstGeom prst="rect">
              <a:avLst/>
            </a:prstGeom>
          </p:spPr>
        </p:pic>
      </p:grpSp>
    </p:spTree>
    <p:extLst>
      <p:ext uri="{BB962C8B-B14F-4D97-AF65-F5344CB8AC3E}">
        <p14:creationId xmlns:p14="http://schemas.microsoft.com/office/powerpoint/2010/main" val="5862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0A5D93CF-73CF-4005-863F-DA28128025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E7DB70-DAEA-5DA8-AB02-1B05680CEC05}"/>
              </a:ext>
            </a:extLst>
          </p:cNvPr>
          <p:cNvSpPr/>
          <p:nvPr/>
        </p:nvSpPr>
        <p:spPr>
          <a:xfrm>
            <a:off x="5458907" y="6455414"/>
            <a:ext cx="1465768" cy="335911"/>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sp>
        <p:nvSpPr>
          <p:cNvPr id="9" name="Rectangle 8" hidden="1">
            <a:extLst>
              <a:ext uri="{FF2B5EF4-FFF2-40B4-BE49-F238E27FC236}">
                <a16:creationId xmlns:a16="http://schemas.microsoft.com/office/drawing/2014/main" id="{933149C9-2E34-44EB-9290-2D53B7290A1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OOP" panose="020B0504030101010102" pitchFamily="34" charset="0"/>
              <a:ea typeface="+mj-ea"/>
              <a:cs typeface="+mj-cs"/>
              <a:sym typeface="COOP" panose="020B0504030101010102" pitchFamily="34" charset="0"/>
            </a:endParaRPr>
          </a:p>
        </p:txBody>
      </p:sp>
      <p:sp>
        <p:nvSpPr>
          <p:cNvPr id="7" name="Title 6">
            <a:extLst>
              <a:ext uri="{FF2B5EF4-FFF2-40B4-BE49-F238E27FC236}">
                <a16:creationId xmlns:a16="http://schemas.microsoft.com/office/drawing/2014/main" id="{FC0C596C-6F8A-476B-A414-40A310740A0B}"/>
              </a:ext>
            </a:extLst>
          </p:cNvPr>
          <p:cNvSpPr>
            <a:spLocks noGrp="1"/>
          </p:cNvSpPr>
          <p:nvPr>
            <p:ph type="title"/>
          </p:nvPr>
        </p:nvSpPr>
        <p:spPr/>
        <p:txBody>
          <a:bodyPr vert="horz"/>
          <a:lstStyle/>
          <a:p>
            <a:r>
              <a:rPr lang="da-DK" dirty="0"/>
              <a:t>Unikke varemærker </a:t>
            </a:r>
            <a:r>
              <a:rPr lang="da-DK" b="0" dirty="0"/>
              <a:t>| 4 ud af top 6 private-label varemærker med højest kendskab er Coop varemærker med Änglamark på første pladsen</a:t>
            </a:r>
          </a:p>
        </p:txBody>
      </p:sp>
      <p:graphicFrame>
        <p:nvGraphicFramePr>
          <p:cNvPr id="16" name="Table 16">
            <a:extLst>
              <a:ext uri="{FF2B5EF4-FFF2-40B4-BE49-F238E27FC236}">
                <a16:creationId xmlns:a16="http://schemas.microsoft.com/office/drawing/2014/main" id="{036AC65B-76A4-652F-9B5F-B2BCE9DB3C00}"/>
              </a:ext>
            </a:extLst>
          </p:cNvPr>
          <p:cNvGraphicFramePr>
            <a:graphicFrameLocks noGrp="1"/>
          </p:cNvGraphicFramePr>
          <p:nvPr/>
        </p:nvGraphicFramePr>
        <p:xfrm>
          <a:off x="2409433" y="1341452"/>
          <a:ext cx="7433729" cy="5191760"/>
        </p:xfrm>
        <a:graphic>
          <a:graphicData uri="http://schemas.openxmlformats.org/drawingml/2006/table">
            <a:tbl>
              <a:tblPr firstRow="1" bandRow="1">
                <a:tableStyleId>{69012ECD-51FC-41F1-AA8D-1B2483CD663E}</a:tableStyleId>
              </a:tblPr>
              <a:tblGrid>
                <a:gridCol w="897255">
                  <a:extLst>
                    <a:ext uri="{9D8B030D-6E8A-4147-A177-3AD203B41FA5}">
                      <a16:colId xmlns:a16="http://schemas.microsoft.com/office/drawing/2014/main" val="7746183"/>
                    </a:ext>
                  </a:extLst>
                </a:gridCol>
                <a:gridCol w="3224474">
                  <a:extLst>
                    <a:ext uri="{9D8B030D-6E8A-4147-A177-3AD203B41FA5}">
                      <a16:colId xmlns:a16="http://schemas.microsoft.com/office/drawing/2014/main" val="1377835946"/>
                    </a:ext>
                  </a:extLst>
                </a:gridCol>
                <a:gridCol w="1656000">
                  <a:extLst>
                    <a:ext uri="{9D8B030D-6E8A-4147-A177-3AD203B41FA5}">
                      <a16:colId xmlns:a16="http://schemas.microsoft.com/office/drawing/2014/main" val="2794411930"/>
                    </a:ext>
                  </a:extLst>
                </a:gridCol>
                <a:gridCol w="1656000">
                  <a:extLst>
                    <a:ext uri="{9D8B030D-6E8A-4147-A177-3AD203B41FA5}">
                      <a16:colId xmlns:a16="http://schemas.microsoft.com/office/drawing/2014/main" val="2218364782"/>
                    </a:ext>
                  </a:extLst>
                </a:gridCol>
              </a:tblGrid>
              <a:tr h="370840">
                <a:tc>
                  <a:txBody>
                    <a:bodyPr/>
                    <a:lstStyle/>
                    <a:p>
                      <a:pPr rtl="0"/>
                      <a:r>
                        <a:rPr lang="da-DK"/>
                        <a:t>Plads</a:t>
                      </a:r>
                    </a:p>
                  </a:txBody>
                  <a:tcPr/>
                </a:tc>
                <a:tc>
                  <a:txBody>
                    <a:bodyPr/>
                    <a:lstStyle/>
                    <a:p>
                      <a:pPr rtl="0"/>
                      <a:r>
                        <a:rPr lang="da-DK"/>
                        <a:t>Mærke</a:t>
                      </a:r>
                    </a:p>
                  </a:txBody>
                  <a:tcPr/>
                </a:tc>
                <a:tc>
                  <a:txBody>
                    <a:bodyPr/>
                    <a:lstStyle/>
                    <a:p>
                      <a:pPr rtl="0"/>
                      <a:r>
                        <a:rPr lang="da-DK"/>
                        <a:t>% kendskab</a:t>
                      </a:r>
                    </a:p>
                  </a:txBody>
                  <a:tcPr/>
                </a:tc>
                <a:tc>
                  <a:txBody>
                    <a:bodyPr/>
                    <a:lstStyle/>
                    <a:p>
                      <a:pPr rtl="0"/>
                      <a:r>
                        <a:rPr lang="da-DK"/>
                        <a:t>% har købt</a:t>
                      </a:r>
                    </a:p>
                  </a:txBody>
                  <a:tcPr/>
                </a:tc>
                <a:extLst>
                  <a:ext uri="{0D108BD9-81ED-4DB2-BD59-A6C34878D82A}">
                    <a16:rowId xmlns:a16="http://schemas.microsoft.com/office/drawing/2014/main" val="74749309"/>
                  </a:ext>
                </a:extLst>
              </a:tr>
              <a:tr h="370840">
                <a:tc>
                  <a:txBody>
                    <a:bodyPr/>
                    <a:lstStyle/>
                    <a:p>
                      <a:pPr algn="ctr" rtl="0" fontAlgn="b"/>
                      <a:r>
                        <a:rPr lang="da-DK" sz="1600" b="1" u="none" strike="noStrike">
                          <a:solidFill>
                            <a:srgbClr val="000000"/>
                          </a:solidFill>
                          <a:effectLst/>
                        </a:rPr>
                        <a:t>1.</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Änglamark</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73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46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96829709"/>
                  </a:ext>
                </a:extLst>
              </a:tr>
              <a:tr h="370840">
                <a:tc>
                  <a:txBody>
                    <a:bodyPr/>
                    <a:lstStyle/>
                    <a:p>
                      <a:pPr algn="ctr" rtl="0" fontAlgn="b"/>
                      <a:r>
                        <a:rPr lang="da-DK" sz="1600" b="0" u="none" strike="noStrike">
                          <a:solidFill>
                            <a:srgbClr val="000000"/>
                          </a:solidFill>
                          <a:effectLst/>
                        </a:rPr>
                        <a:t>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Rema100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7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310570849"/>
                  </a:ext>
                </a:extLst>
              </a:tr>
              <a:tr h="370840">
                <a:tc>
                  <a:txBody>
                    <a:bodyPr/>
                    <a:lstStyle/>
                    <a:p>
                      <a:pPr algn="ctr" rtl="0" fontAlgn="b"/>
                      <a:r>
                        <a:rPr lang="da-DK" sz="1600" b="1" u="none" strike="noStrike">
                          <a:solidFill>
                            <a:srgbClr val="000000"/>
                          </a:solidFill>
                          <a:effectLst/>
                        </a:rPr>
                        <a:t>3.</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4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1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18130561"/>
                  </a:ext>
                </a:extLst>
              </a:tr>
              <a:tr h="370840">
                <a:tc>
                  <a:txBody>
                    <a:bodyPr/>
                    <a:lstStyle/>
                    <a:p>
                      <a:pPr algn="ctr" rtl="0" fontAlgn="b"/>
                      <a:r>
                        <a:rPr lang="da-DK" sz="1600" b="0" u="none" strike="noStrike">
                          <a:solidFill>
                            <a:srgbClr val="000000"/>
                          </a:solidFill>
                          <a:effectLst/>
                        </a:rPr>
                        <a:t>4.</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Budget</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6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897145387"/>
                  </a:ext>
                </a:extLst>
              </a:tr>
              <a:tr h="370840">
                <a:tc>
                  <a:txBody>
                    <a:bodyPr/>
                    <a:lstStyle/>
                    <a:p>
                      <a:pPr algn="ctr" rtl="0" fontAlgn="b"/>
                      <a:r>
                        <a:rPr lang="da-DK" sz="1600" b="1" u="none" strike="noStrike">
                          <a:solidFill>
                            <a:srgbClr val="000000"/>
                          </a:solidFill>
                          <a:effectLst/>
                        </a:rPr>
                        <a:t>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Xtra</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2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25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753001288"/>
                  </a:ext>
                </a:extLst>
              </a:tr>
              <a:tr h="370840">
                <a:tc>
                  <a:txBody>
                    <a:bodyPr/>
                    <a:lstStyle/>
                    <a:p>
                      <a:pPr algn="ctr" rtl="0" fontAlgn="b"/>
                      <a:r>
                        <a:rPr lang="da-DK" sz="1600" b="1" u="none" strike="noStrike">
                          <a:solidFill>
                            <a:srgbClr val="000000"/>
                          </a:solidFill>
                          <a:effectLst/>
                        </a:rPr>
                        <a:t>6.</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 36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58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3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563443166"/>
                  </a:ext>
                </a:extLst>
              </a:tr>
              <a:tr h="370840">
                <a:tc>
                  <a:txBody>
                    <a:bodyPr/>
                    <a:lstStyle/>
                    <a:p>
                      <a:pPr algn="ctr" rtl="0" fontAlgn="b"/>
                      <a:r>
                        <a:rPr lang="da-DK" sz="1600" b="0" u="none" strike="noStrike">
                          <a:solidFill>
                            <a:srgbClr val="000000"/>
                          </a:solidFill>
                          <a:effectLst/>
                        </a:rPr>
                        <a:t>7.</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Princip</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6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198635691"/>
                  </a:ext>
                </a:extLst>
              </a:tr>
              <a:tr h="370840">
                <a:tc>
                  <a:txBody>
                    <a:bodyPr/>
                    <a:lstStyle/>
                    <a:p>
                      <a:pPr algn="ctr" rtl="0" fontAlgn="b"/>
                      <a:r>
                        <a:rPr lang="da-DK" sz="1600" b="0" u="none" strike="noStrike">
                          <a:solidFill>
                            <a:srgbClr val="000000"/>
                          </a:solidFill>
                          <a:effectLst/>
                        </a:rPr>
                        <a:t>8.</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Levevi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875211943"/>
                  </a:ext>
                </a:extLst>
              </a:tr>
              <a:tr h="370840">
                <a:tc>
                  <a:txBody>
                    <a:bodyPr/>
                    <a:lstStyle/>
                    <a:p>
                      <a:pPr algn="ctr" rtl="0" fontAlgn="b"/>
                      <a:r>
                        <a:rPr lang="da-DK" sz="1600" b="0" u="none" strike="noStrike">
                          <a:solidFill>
                            <a:srgbClr val="000000"/>
                          </a:solidFill>
                          <a:effectLst/>
                        </a:rPr>
                        <a:t>9.</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Salling</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9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683278198"/>
                  </a:ext>
                </a:extLst>
              </a:tr>
              <a:tr h="370840">
                <a:tc>
                  <a:txBody>
                    <a:bodyPr/>
                    <a:lstStyle/>
                    <a:p>
                      <a:pPr algn="ctr" rtl="0" fontAlgn="b"/>
                      <a:r>
                        <a:rPr lang="da-DK" sz="1600" b="0" u="none" strike="noStrike">
                          <a:solidFill>
                            <a:srgbClr val="000000"/>
                          </a:solidFill>
                          <a:effectLst/>
                        </a:rPr>
                        <a:t>1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ØGO</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940270533"/>
                  </a:ext>
                </a:extLst>
              </a:tr>
              <a:tr h="370840">
                <a:tc>
                  <a:txBody>
                    <a:bodyPr/>
                    <a:lstStyle/>
                    <a:p>
                      <a:pPr algn="ctr" rtl="0" fontAlgn="b"/>
                      <a:r>
                        <a:rPr lang="da-DK" sz="1600" b="0" u="none" strike="noStrike">
                          <a:solidFill>
                            <a:srgbClr val="000000"/>
                          </a:solidFill>
                          <a:effectLst/>
                        </a:rPr>
                        <a:t>11</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Vore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49078982"/>
                  </a:ext>
                </a:extLst>
              </a:tr>
              <a:tr h="370840">
                <a:tc>
                  <a:txBody>
                    <a:bodyPr/>
                    <a:lstStyle/>
                    <a:p>
                      <a:pPr algn="ctr" rtl="0" fontAlgn="b"/>
                      <a:r>
                        <a:rPr lang="da-DK" sz="1600" b="0" u="none" strike="noStrike">
                          <a:solidFill>
                            <a:srgbClr val="000000"/>
                          </a:solidFill>
                          <a:effectLst/>
                        </a:rPr>
                        <a:t>1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estu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1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410395937"/>
                  </a:ext>
                </a:extLst>
              </a:tr>
              <a:tr h="370840">
                <a:tc>
                  <a:txBody>
                    <a:bodyPr/>
                    <a:lstStyle/>
                    <a:p>
                      <a:pPr algn="ctr" rtl="0" fontAlgn="b"/>
                      <a:r>
                        <a:rPr lang="da-DK" sz="1600" b="0" u="none" strike="noStrike">
                          <a:solidFill>
                            <a:srgbClr val="000000"/>
                          </a:solidFill>
                          <a:effectLst/>
                        </a:rPr>
                        <a:t>13</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røn Balance</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8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4184144207"/>
                  </a:ext>
                </a:extLst>
              </a:tr>
            </a:tbl>
          </a:graphicData>
        </a:graphic>
      </p:graphicFrame>
      <p:pic>
        <p:nvPicPr>
          <p:cNvPr id="25609" name="Picture 9">
            <a:extLst>
              <a:ext uri="{FF2B5EF4-FFF2-40B4-BE49-F238E27FC236}">
                <a16:creationId xmlns:a16="http://schemas.microsoft.com/office/drawing/2014/main" id="{363F97C1-464A-F01B-CD8A-BACB88A2846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007277" y="2200677"/>
            <a:ext cx="1233186" cy="1825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F321647F-61E5-46E9-BE24-46E783DD852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25244" y="3150664"/>
            <a:ext cx="597252" cy="448283"/>
          </a:xfrm>
          <a:prstGeom prst="rect">
            <a:avLst/>
          </a:prstGeom>
        </p:spPr>
      </p:pic>
      <p:pic>
        <p:nvPicPr>
          <p:cNvPr id="25615" name="Picture 15" descr="A_Green_RGB_Low">
            <a:extLst>
              <a:ext uri="{FF2B5EF4-FFF2-40B4-BE49-F238E27FC236}">
                <a16:creationId xmlns:a16="http://schemas.microsoft.com/office/drawing/2014/main" id="{63BAC607-E907-6FD9-762F-41C5CD923DD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507631" y="1712563"/>
            <a:ext cx="232478" cy="352372"/>
          </a:xfrm>
          <a:prstGeom prst="rect">
            <a:avLst/>
          </a:prstGeom>
          <a:noFill/>
          <a:extLst>
            <a:ext uri="{909E8E84-426E-40DD-AFC4-6F175D3DCCD1}">
              <a14:hiddenFill xmlns:a14="http://schemas.microsoft.com/office/drawing/2010/main">
                <a:solidFill>
                  <a:srgbClr val="FFFFFF"/>
                </a:solidFill>
              </a14:hiddenFill>
            </a:ext>
          </a:extLst>
        </p:spPr>
      </p:pic>
      <p:pic>
        <p:nvPicPr>
          <p:cNvPr id="25617" name="Picture 17" descr="COOP_RGB">
            <a:extLst>
              <a:ext uri="{FF2B5EF4-FFF2-40B4-BE49-F238E27FC236}">
                <a16:creationId xmlns:a16="http://schemas.microsoft.com/office/drawing/2014/main" id="{DB6FF6C3-67D7-C285-9602-F33C44D9DF1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60329" y="2476682"/>
            <a:ext cx="327082" cy="322475"/>
          </a:xfrm>
          <a:prstGeom prst="rect">
            <a:avLst/>
          </a:prstGeom>
          <a:noFill/>
          <a:extLst>
            <a:ext uri="{909E8E84-426E-40DD-AFC4-6F175D3DCCD1}">
              <a14:hiddenFill xmlns:a14="http://schemas.microsoft.com/office/drawing/2010/main">
                <a:solidFill>
                  <a:srgbClr val="FFFFFF"/>
                </a:solidFill>
              </a14:hiddenFill>
            </a:ext>
          </a:extLst>
        </p:spPr>
      </p:pic>
      <p:pic>
        <p:nvPicPr>
          <p:cNvPr id="25619" name="Picture 19" descr="365-hverdag_RGB">
            <a:extLst>
              <a:ext uri="{FF2B5EF4-FFF2-40B4-BE49-F238E27FC236}">
                <a16:creationId xmlns:a16="http://schemas.microsoft.com/office/drawing/2014/main" id="{C94885FC-5E56-09C7-EDE4-19772679F0C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944447" y="3514725"/>
            <a:ext cx="461737" cy="46336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276D120-085E-D182-7C44-E1BD639F43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79742" y="3607004"/>
            <a:ext cx="284597" cy="286257"/>
          </a:xfrm>
          <a:prstGeom prst="rect">
            <a:avLst/>
          </a:prstGeom>
        </p:spPr>
      </p:pic>
      <p:pic>
        <p:nvPicPr>
          <p:cNvPr id="22" name="Picture 21">
            <a:extLst>
              <a:ext uri="{FF2B5EF4-FFF2-40B4-BE49-F238E27FC236}">
                <a16:creationId xmlns:a16="http://schemas.microsoft.com/office/drawing/2014/main" id="{C8F7F9D7-4DB1-849E-4778-5FED58A929B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40109" y="3607003"/>
            <a:ext cx="284597" cy="286257"/>
          </a:xfrm>
          <a:prstGeom prst="rect">
            <a:avLst/>
          </a:prstGeom>
        </p:spPr>
      </p:pic>
      <p:pic>
        <p:nvPicPr>
          <p:cNvPr id="25625" name="Picture 25" descr="Nyheder Archives - Page 316 of 883 - Dansk Markedsføring">
            <a:extLst>
              <a:ext uri="{FF2B5EF4-FFF2-40B4-BE49-F238E27FC236}">
                <a16:creationId xmlns:a16="http://schemas.microsoft.com/office/drawing/2014/main" id="{F425D00A-DE93-9F1B-AA56-CD0E83E6CB6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5134462" y="4329995"/>
            <a:ext cx="978816" cy="266451"/>
          </a:xfrm>
          <a:prstGeom prst="rect">
            <a:avLst/>
          </a:prstGeom>
          <a:noFill/>
          <a:extLst>
            <a:ext uri="{909E8E84-426E-40DD-AFC4-6F175D3DCCD1}">
              <a14:hiddenFill xmlns:a14="http://schemas.microsoft.com/office/drawing/2010/main">
                <a:solidFill>
                  <a:srgbClr val="FFFFFF"/>
                </a:solidFill>
              </a14:hiddenFill>
            </a:ext>
          </a:extLst>
        </p:spPr>
      </p:pic>
      <p:pic>
        <p:nvPicPr>
          <p:cNvPr id="25629" name="Picture 29" descr="ØGO | Netto">
            <a:extLst>
              <a:ext uri="{FF2B5EF4-FFF2-40B4-BE49-F238E27FC236}">
                <a16:creationId xmlns:a16="http://schemas.microsoft.com/office/drawing/2014/main" id="{47B24361-4A5B-D078-E116-CFBB8E08484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325244" y="5132400"/>
            <a:ext cx="597252" cy="212622"/>
          </a:xfrm>
          <a:prstGeom prst="rect">
            <a:avLst/>
          </a:prstGeom>
          <a:noFill/>
          <a:extLst>
            <a:ext uri="{909E8E84-426E-40DD-AFC4-6F175D3DCCD1}">
              <a14:hiddenFill xmlns:a14="http://schemas.microsoft.com/office/drawing/2010/main">
                <a:solidFill>
                  <a:srgbClr val="FFFFFF"/>
                </a:solidFill>
              </a14:hiddenFill>
            </a:ext>
          </a:extLst>
        </p:spPr>
      </p:pic>
      <p:pic>
        <p:nvPicPr>
          <p:cNvPr id="25631" name="Picture 31" descr="Cafe Gestus | Søger du kaffebønner fra Cafe Gestus? Køb her ←">
            <a:extLst>
              <a:ext uri="{FF2B5EF4-FFF2-40B4-BE49-F238E27FC236}">
                <a16:creationId xmlns:a16="http://schemas.microsoft.com/office/drawing/2014/main" id="{1AAC6E7E-4680-5FC8-D245-CDF2F49F9A4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87745" y="5645230"/>
            <a:ext cx="672250" cy="672250"/>
          </a:xfrm>
          <a:prstGeom prst="rect">
            <a:avLst/>
          </a:prstGeom>
          <a:noFill/>
          <a:extLst>
            <a:ext uri="{909E8E84-426E-40DD-AFC4-6F175D3DCCD1}">
              <a14:hiddenFill xmlns:a14="http://schemas.microsoft.com/office/drawing/2010/main">
                <a:solidFill>
                  <a:srgbClr val="FFFFFF"/>
                </a:solidFill>
              </a14:hiddenFill>
            </a:ext>
          </a:extLst>
        </p:spPr>
      </p:pic>
      <p:pic>
        <p:nvPicPr>
          <p:cNvPr id="25633" name="Picture 33" descr="Grøn Balance Middagstallerkener 23 cm 35 stk - ENGANGSTALLERKENER &amp; -SKÅLE  - VIN MED MERE .DK">
            <a:extLst>
              <a:ext uri="{FF2B5EF4-FFF2-40B4-BE49-F238E27FC236}">
                <a16:creationId xmlns:a16="http://schemas.microsoft.com/office/drawing/2014/main" id="{66598898-2EED-52E4-5820-A760CF5CDFC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372289" y="6185491"/>
            <a:ext cx="503162" cy="326728"/>
          </a:xfrm>
          <a:prstGeom prst="rect">
            <a:avLst/>
          </a:prstGeom>
          <a:noFill/>
          <a:extLst>
            <a:ext uri="{909E8E84-426E-40DD-AFC4-6F175D3DCCD1}">
              <a14:hiddenFill xmlns:a14="http://schemas.microsoft.com/office/drawing/2010/main">
                <a:solidFill>
                  <a:srgbClr val="FFFFFF"/>
                </a:solidFill>
              </a14:hiddenFill>
            </a:ext>
          </a:extLst>
        </p:spPr>
      </p:pic>
      <p:pic>
        <p:nvPicPr>
          <p:cNvPr id="25635" name="Picture 35" descr="føtex egne mærker | føtex.dk">
            <a:extLst>
              <a:ext uri="{FF2B5EF4-FFF2-40B4-BE49-F238E27FC236}">
                <a16:creationId xmlns:a16="http://schemas.microsoft.com/office/drawing/2014/main" id="{33186F1D-6C2B-FC50-7303-1FC75B69BB5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5463427" y="3960951"/>
            <a:ext cx="320886" cy="312074"/>
          </a:xfrm>
          <a:prstGeom prst="rect">
            <a:avLst/>
          </a:prstGeom>
          <a:noFill/>
          <a:extLst>
            <a:ext uri="{909E8E84-426E-40DD-AFC4-6F175D3DCCD1}">
              <a14:hiddenFill xmlns:a14="http://schemas.microsoft.com/office/drawing/2010/main">
                <a:solidFill>
                  <a:srgbClr val="FFFFFF"/>
                </a:solidFill>
              </a14:hiddenFill>
            </a:ext>
          </a:extLst>
        </p:spPr>
      </p:pic>
      <p:pic>
        <p:nvPicPr>
          <p:cNvPr id="25637" name="Picture 37" descr="føtex egne mærker | føtex.dk">
            <a:extLst>
              <a:ext uri="{FF2B5EF4-FFF2-40B4-BE49-F238E27FC236}">
                <a16:creationId xmlns:a16="http://schemas.microsoft.com/office/drawing/2014/main" id="{E289E645-99E5-40FE-E96C-C3F03A88AF8B}"/>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458907" y="4691182"/>
            <a:ext cx="329927" cy="331505"/>
          </a:xfrm>
          <a:prstGeom prst="rect">
            <a:avLst/>
          </a:prstGeom>
          <a:noFill/>
          <a:extLst>
            <a:ext uri="{909E8E84-426E-40DD-AFC4-6F175D3DCCD1}">
              <a14:hiddenFill xmlns:a14="http://schemas.microsoft.com/office/drawing/2010/main">
                <a:solidFill>
                  <a:srgbClr val="FFFFFF"/>
                </a:solidFill>
              </a14:hiddenFill>
            </a:ext>
          </a:extLst>
        </p:spPr>
      </p:pic>
      <p:pic>
        <p:nvPicPr>
          <p:cNvPr id="25639" name="Picture 39" descr="føtex egne mærker | føtex.dk">
            <a:extLst>
              <a:ext uri="{FF2B5EF4-FFF2-40B4-BE49-F238E27FC236}">
                <a16:creationId xmlns:a16="http://schemas.microsoft.com/office/drawing/2014/main" id="{8C13500A-1A5E-16A2-0381-AA65B4F344AF}"/>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5267106" y="5493322"/>
            <a:ext cx="713528" cy="247254"/>
          </a:xfrm>
          <a:prstGeom prst="rect">
            <a:avLst/>
          </a:prstGeom>
          <a:noFill/>
          <a:extLst>
            <a:ext uri="{909E8E84-426E-40DD-AFC4-6F175D3DCCD1}">
              <a14:hiddenFill xmlns:a14="http://schemas.microsoft.com/office/drawing/2010/main">
                <a:solidFill>
                  <a:srgbClr val="FFFFFF"/>
                </a:solidFill>
              </a14:hiddenFill>
            </a:ext>
          </a:extLst>
        </p:spPr>
      </p:pic>
      <p:pic>
        <p:nvPicPr>
          <p:cNvPr id="25641" name="Picture 41" descr="føtex egne mærker | føtex.dk">
            <a:extLst>
              <a:ext uri="{FF2B5EF4-FFF2-40B4-BE49-F238E27FC236}">
                <a16:creationId xmlns:a16="http://schemas.microsoft.com/office/drawing/2014/main" id="{C7F8DCE3-7790-A35A-6030-7CCF9A5E56B5}"/>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223300" y="2922097"/>
            <a:ext cx="801140" cy="17013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B302F88-159F-B3DC-BE1B-B954AD4DDF8C}"/>
              </a:ext>
            </a:extLst>
          </p:cNvPr>
          <p:cNvSpPr txBox="1"/>
          <p:nvPr/>
        </p:nvSpPr>
        <p:spPr>
          <a:xfrm>
            <a:off x="442913" y="6495112"/>
            <a:ext cx="1126912" cy="123111"/>
          </a:xfrm>
          <a:prstGeom prst="rect">
            <a:avLst/>
          </a:prstGeom>
          <a:noFill/>
        </p:spPr>
        <p:txBody>
          <a:bodyPr wrap="none" lIns="0" tIns="0" rIns="0" bIns="0" rtlCol="0">
            <a:spAutoFit/>
          </a:bodyPr>
          <a:lstStyle/>
          <a:p>
            <a:pPr algn="l"/>
            <a:r>
              <a:rPr lang="da-DK" sz="800">
                <a:solidFill>
                  <a:schemeClr val="accent5"/>
                </a:solidFill>
                <a:latin typeface="+mj-lt"/>
              </a:rPr>
              <a:t>Kilde: BT 9. november</a:t>
            </a:r>
          </a:p>
        </p:txBody>
      </p:sp>
    </p:spTree>
    <p:extLst>
      <p:ext uri="{BB962C8B-B14F-4D97-AF65-F5344CB8AC3E}">
        <p14:creationId xmlns:p14="http://schemas.microsoft.com/office/powerpoint/2010/main" val="15204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tabLst/>
              <a:defRPr/>
            </a:pPr>
            <a:r>
              <a:rPr kumimoji="0" lang="da-DK" sz="4800" b="1" i="0" u="none" strike="noStrike" kern="1200" cap="none" spc="0" normalizeH="0" baseline="0" noProof="0" dirty="0">
                <a:ln>
                  <a:noFill/>
                </a:ln>
                <a:solidFill>
                  <a:srgbClr val="FFFFFF"/>
                </a:solidFill>
                <a:effectLst/>
                <a:uLnTx/>
                <a:uFillTx/>
                <a:latin typeface="COOP"/>
                <a:ea typeface="+mn-ea"/>
                <a:cs typeface="+mn-cs"/>
              </a:rPr>
              <a:t>Kvickly &amp; SuperBrugsen</a:t>
            </a:r>
            <a:endParaRPr kumimoji="0" lang="da-DK" sz="2800" b="1" i="0" u="none" strike="noStrike" kern="1200" cap="none" spc="0" normalizeH="0" baseline="0" noProof="0" dirty="0">
              <a:ln>
                <a:noFill/>
              </a:ln>
              <a:solidFill>
                <a:srgbClr val="FFFFFF"/>
              </a:solidFill>
              <a:effectLst/>
              <a:uLnTx/>
              <a:uFillTx/>
              <a:latin typeface="COOP"/>
              <a:ea typeface="+mn-ea"/>
              <a:cs typeface="+mn-cs"/>
            </a:endParaRPr>
          </a:p>
        </p:txBody>
      </p:sp>
    </p:spTree>
    <p:extLst>
      <p:ext uri="{BB962C8B-B14F-4D97-AF65-F5344CB8AC3E}">
        <p14:creationId xmlns:p14="http://schemas.microsoft.com/office/powerpoint/2010/main" val="23052200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722080" cy="853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i="0" u="none" strike="noStrike" kern="1200" cap="none" spc="0" normalizeH="0" baseline="0" noProof="0" dirty="0">
                <a:ln>
                  <a:noFill/>
                </a:ln>
                <a:solidFill>
                  <a:srgbClr val="C31919"/>
                </a:solidFill>
                <a:effectLst/>
                <a:uLnTx/>
                <a:uFillTx/>
                <a:latin typeface="COOP"/>
                <a:ea typeface="+mj-ea"/>
                <a:cs typeface="+mj-cs"/>
                <a:sym typeface="Trebuchet MS" panose="020B0603020202020204" pitchFamily="34" charset="0"/>
              </a:rPr>
              <a:t>2023| Hvad er Kvickly og SuperBrugsen lykkedes særligt godt med</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9993" y="6550905"/>
            <a:ext cx="692014" cy="198770"/>
          </a:xfrm>
          <a:prstGeom prst="rect">
            <a:avLst/>
          </a:prstGeom>
        </p:spPr>
      </p:pic>
      <p:sp>
        <p:nvSpPr>
          <p:cNvPr id="2" name="Ellipse 1">
            <a:extLst>
              <a:ext uri="{FF2B5EF4-FFF2-40B4-BE49-F238E27FC236}">
                <a16:creationId xmlns:a16="http://schemas.microsoft.com/office/drawing/2014/main" id="{76225EEF-F0C4-C0DC-9DD0-D8422E3AD3EA}"/>
              </a:ext>
            </a:extLst>
          </p:cNvPr>
          <p:cNvSpPr/>
          <p:nvPr/>
        </p:nvSpPr>
        <p:spPr>
          <a:xfrm>
            <a:off x="3414267"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Vores medarbejdere</a:t>
            </a:r>
          </a:p>
        </p:txBody>
      </p:sp>
      <p:sp>
        <p:nvSpPr>
          <p:cNvPr id="6" name="Ellipse 5">
            <a:extLst>
              <a:ext uri="{FF2B5EF4-FFF2-40B4-BE49-F238E27FC236}">
                <a16:creationId xmlns:a16="http://schemas.microsoft.com/office/drawing/2014/main" id="{FC0F86B3-32DD-F2E4-1EC6-17CDB9F611E0}"/>
              </a:ext>
            </a:extLst>
          </p:cNvPr>
          <p:cNvSpPr/>
          <p:nvPr/>
        </p:nvSpPr>
        <p:spPr>
          <a:xfrm>
            <a:off x="469900"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Frugt &amp; Grønt</a:t>
            </a:r>
          </a:p>
        </p:txBody>
      </p:sp>
      <p:sp>
        <p:nvSpPr>
          <p:cNvPr id="7" name="Ellipse 6">
            <a:extLst>
              <a:ext uri="{FF2B5EF4-FFF2-40B4-BE49-F238E27FC236}">
                <a16:creationId xmlns:a16="http://schemas.microsoft.com/office/drawing/2014/main" id="{BB3A9B1B-5A71-860B-1562-F816C9730929}"/>
              </a:ext>
            </a:extLst>
          </p:cNvPr>
          <p:cNvSpPr/>
          <p:nvPr/>
        </p:nvSpPr>
        <p:spPr>
          <a:xfrm>
            <a:off x="9247613"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Avistilbud</a:t>
            </a:r>
          </a:p>
        </p:txBody>
      </p:sp>
      <p:sp>
        <p:nvSpPr>
          <p:cNvPr id="8" name="Ellipse 7">
            <a:extLst>
              <a:ext uri="{FF2B5EF4-FFF2-40B4-BE49-F238E27FC236}">
                <a16:creationId xmlns:a16="http://schemas.microsoft.com/office/drawing/2014/main" id="{F6B97C4D-BDFC-38F5-9D2E-AE53E72D1D99}"/>
              </a:ext>
            </a:extLst>
          </p:cNvPr>
          <p:cNvSpPr/>
          <p:nvPr/>
        </p:nvSpPr>
        <p:spPr>
          <a:xfrm>
            <a:off x="6303226"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Discount match</a:t>
            </a:r>
          </a:p>
        </p:txBody>
      </p:sp>
    </p:spTree>
    <p:extLst>
      <p:ext uri="{BB962C8B-B14F-4D97-AF65-F5344CB8AC3E}">
        <p14:creationId xmlns:p14="http://schemas.microsoft.com/office/powerpoint/2010/main" val="225455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505929-E5F8-4727-BBE0-D65E183DB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kt 2" hidden="1">
                        <a:extLst>
                          <a:ext uri="{FF2B5EF4-FFF2-40B4-BE49-F238E27FC236}">
                            <a16:creationId xmlns:a16="http://schemas.microsoft.com/office/drawing/2014/main" id="{3D505929-E5F8-4727-BBE0-D65E183DB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lede 4" descr="Et billede, der indeholder tekst, indendørs, person, butik&#10;&#10;Automatisk genereret beskrivelse">
            <a:extLst>
              <a:ext uri="{FF2B5EF4-FFF2-40B4-BE49-F238E27FC236}">
                <a16:creationId xmlns:a16="http://schemas.microsoft.com/office/drawing/2014/main" id="{2BF73179-B41E-4FB0-AF42-3999B12CA01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1"/>
            <a:ext cx="12213773" cy="6858001"/>
          </a:xfrm>
          <a:prstGeom prst="rect">
            <a:avLst/>
          </a:prstGeom>
        </p:spPr>
      </p:pic>
      <p:sp>
        <p:nvSpPr>
          <p:cNvPr id="6" name="Retvinklet trekant 5">
            <a:extLst>
              <a:ext uri="{FF2B5EF4-FFF2-40B4-BE49-F238E27FC236}">
                <a16:creationId xmlns:a16="http://schemas.microsoft.com/office/drawing/2014/main" id="{931B7411-1FE0-42A9-8CD8-87CEBD5CB559}"/>
              </a:ext>
            </a:extLst>
          </p:cNvPr>
          <p:cNvSpPr/>
          <p:nvPr/>
        </p:nvSpPr>
        <p:spPr>
          <a:xfrm>
            <a:off x="0" y="4213411"/>
            <a:ext cx="12213772" cy="2644589"/>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7" name="Retvinklet trekant 6">
            <a:extLst>
              <a:ext uri="{FF2B5EF4-FFF2-40B4-BE49-F238E27FC236}">
                <a16:creationId xmlns:a16="http://schemas.microsoft.com/office/drawing/2014/main" id="{10423671-4183-4048-B6D7-4E1AD95B7388}"/>
              </a:ext>
            </a:extLst>
          </p:cNvPr>
          <p:cNvSpPr/>
          <p:nvPr/>
        </p:nvSpPr>
        <p:spPr>
          <a:xfrm rot="10800000">
            <a:off x="-10886" y="-1"/>
            <a:ext cx="12213772" cy="2447366"/>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8" name="Graphic 42">
            <a:extLst>
              <a:ext uri="{FF2B5EF4-FFF2-40B4-BE49-F238E27FC236}">
                <a16:creationId xmlns:a16="http://schemas.microsoft.com/office/drawing/2014/main" id="{51407212-69B1-4619-A313-44E5BF22656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5562" y="117106"/>
            <a:ext cx="1700875" cy="488550"/>
          </a:xfrm>
          <a:prstGeom prst="rect">
            <a:avLst/>
          </a:prstGeom>
        </p:spPr>
      </p:pic>
      <p:sp>
        <p:nvSpPr>
          <p:cNvPr id="9" name="Shape 386">
            <a:extLst>
              <a:ext uri="{FF2B5EF4-FFF2-40B4-BE49-F238E27FC236}">
                <a16:creationId xmlns:a16="http://schemas.microsoft.com/office/drawing/2014/main" id="{3C85CFC1-EB36-49D0-A447-A7835A6338E6}"/>
              </a:ext>
            </a:extLst>
          </p:cNvPr>
          <p:cNvSpPr/>
          <p:nvPr/>
        </p:nvSpPr>
        <p:spPr>
          <a:xfrm>
            <a:off x="5002569" y="696075"/>
            <a:ext cx="2186861"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da-DK" sz="12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grundlagt 1866</a:t>
            </a:r>
          </a:p>
        </p:txBody>
      </p:sp>
      <p:sp>
        <p:nvSpPr>
          <p:cNvPr id="10" name="Shape 386">
            <a:extLst>
              <a:ext uri="{FF2B5EF4-FFF2-40B4-BE49-F238E27FC236}">
                <a16:creationId xmlns:a16="http://schemas.microsoft.com/office/drawing/2014/main" id="{73D21496-DE92-44DC-AC74-B7B363448E6F}"/>
              </a:ext>
            </a:extLst>
          </p:cNvPr>
          <p:cNvSpPr/>
          <p:nvPr/>
        </p:nvSpPr>
        <p:spPr>
          <a:xfrm>
            <a:off x="9313764" y="1043788"/>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NTAL BUTIKKER</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900</a:t>
            </a:r>
          </a:p>
        </p:txBody>
      </p:sp>
      <p:sp>
        <p:nvSpPr>
          <p:cNvPr id="11" name="Shape 386">
            <a:extLst>
              <a:ext uri="{FF2B5EF4-FFF2-40B4-BE49-F238E27FC236}">
                <a16:creationId xmlns:a16="http://schemas.microsoft.com/office/drawing/2014/main" id="{252AA2E9-53AD-4066-A74B-14235C8F5E82}"/>
              </a:ext>
            </a:extLst>
          </p:cNvPr>
          <p:cNvSpPr/>
          <p:nvPr/>
        </p:nvSpPr>
        <p:spPr>
          <a:xfrm>
            <a:off x="7336632" y="160766"/>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OMSÆTNING</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47 </a:t>
            </a:r>
            <a:r>
              <a:rPr kumimoji="0" lang="en-GB" sz="3600" b="1" i="0" u="none" strike="noStrike" kern="1200" cap="none" spc="0" normalizeH="0" baseline="0" noProof="0" err="1">
                <a:ln>
                  <a:noFill/>
                </a:ln>
                <a:solidFill>
                  <a:prstClr val="white"/>
                </a:solidFill>
                <a:effectLst/>
                <a:uLnTx/>
                <a:uFillTx/>
                <a:latin typeface="COOP" panose="02010504010101010104" pitchFamily="2" charset="0"/>
                <a:sym typeface="COOP" panose="02010504010101010104" pitchFamily="2" charset="0"/>
              </a:rPr>
              <a:t>mia</a:t>
            </a: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t>
            </a:r>
          </a:p>
        </p:txBody>
      </p:sp>
      <p:sp>
        <p:nvSpPr>
          <p:cNvPr id="12" name="Shape 386">
            <a:extLst>
              <a:ext uri="{FF2B5EF4-FFF2-40B4-BE49-F238E27FC236}">
                <a16:creationId xmlns:a16="http://schemas.microsoft.com/office/drawing/2014/main" id="{207139A1-89E6-4178-B023-AF0AD9D77832}"/>
              </a:ext>
            </a:extLst>
          </p:cNvPr>
          <p:cNvSpPr/>
          <p:nvPr/>
        </p:nvSpPr>
        <p:spPr>
          <a:xfrm>
            <a:off x="4406992" y="5706671"/>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 MEDLEMMER </a:t>
            </a: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1,9 </a:t>
            </a:r>
            <a:r>
              <a:rPr kumimoji="0" lang="en-GB" sz="3600" b="1" i="0" u="none" strike="noStrike" kern="1200" cap="none" spc="0" normalizeH="0" baseline="0" noProof="0" err="1">
                <a:ln>
                  <a:noFill/>
                </a:ln>
                <a:solidFill>
                  <a:srgbClr val="FFFFFF"/>
                </a:solidFill>
                <a:effectLst/>
                <a:uLnTx/>
                <a:uFillTx/>
                <a:latin typeface="COOP" panose="02010504010101010104" pitchFamily="2" charset="0"/>
                <a:sym typeface="COOP" panose="02010504010101010104" pitchFamily="2" charset="0"/>
              </a:rPr>
              <a:t>mio</a:t>
            </a: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 </a:t>
            </a:r>
          </a:p>
        </p:txBody>
      </p:sp>
      <p:sp>
        <p:nvSpPr>
          <p:cNvPr id="13" name="Shape 386">
            <a:extLst>
              <a:ext uri="{FF2B5EF4-FFF2-40B4-BE49-F238E27FC236}">
                <a16:creationId xmlns:a16="http://schemas.microsoft.com/office/drawing/2014/main" id="{438A71D0-EB38-47A2-8DD9-A6C945F38AFF}"/>
              </a:ext>
            </a:extLst>
          </p:cNvPr>
          <p:cNvSpPr/>
          <p:nvPr/>
        </p:nvSpPr>
        <p:spPr>
          <a:xfrm>
            <a:off x="-331619" y="4845410"/>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MARKEDSANDEL</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29,3%</a:t>
            </a:r>
          </a:p>
        </p:txBody>
      </p:sp>
      <p:sp>
        <p:nvSpPr>
          <p:cNvPr id="14" name="Shape 386">
            <a:extLst>
              <a:ext uri="{FF2B5EF4-FFF2-40B4-BE49-F238E27FC236}">
                <a16:creationId xmlns:a16="http://schemas.microsoft.com/office/drawing/2014/main" id="{8FA1144B-B907-4096-B0EB-0390EA41EAEC}"/>
              </a:ext>
            </a:extLst>
          </p:cNvPr>
          <p:cNvSpPr/>
          <p:nvPr/>
        </p:nvSpPr>
        <p:spPr>
          <a:xfrm>
            <a:off x="1290466" y="5857456"/>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ANSATTE</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40.000</a:t>
            </a:r>
          </a:p>
        </p:txBody>
      </p:sp>
      <p:sp>
        <p:nvSpPr>
          <p:cNvPr id="16" name="Rectangle 9">
            <a:extLst>
              <a:ext uri="{FF2B5EF4-FFF2-40B4-BE49-F238E27FC236}">
                <a16:creationId xmlns:a16="http://schemas.microsoft.com/office/drawing/2014/main" id="{1E5A0043-A9FE-42D3-A1F4-CB1394FB6F2E}"/>
              </a:ext>
            </a:extLst>
          </p:cNvPr>
          <p:cNvSpPr>
            <a:spLocks/>
          </p:cNvSpPr>
          <p:nvPr/>
        </p:nvSpPr>
        <p:spPr>
          <a:xfrm>
            <a:off x="286091" y="1240047"/>
            <a:ext cx="5742986" cy="910311"/>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4600" b="1"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rPr>
              <a:t>Kort introduktion til Coop</a:t>
            </a:r>
            <a:endParaRPr kumimoji="0" lang="da-DK" sz="4600" b="0"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endParaRPr>
          </a:p>
        </p:txBody>
      </p:sp>
    </p:spTree>
    <p:extLst>
      <p:ext uri="{BB962C8B-B14F-4D97-AF65-F5344CB8AC3E}">
        <p14:creationId xmlns:p14="http://schemas.microsoft.com/office/powerpoint/2010/main" val="39289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14">
            <a:extLst>
              <a:ext uri="{FF2B5EF4-FFF2-40B4-BE49-F238E27FC236}">
                <a16:creationId xmlns:a16="http://schemas.microsoft.com/office/drawing/2014/main" id="{BA175A65-42BE-4FDF-8AD0-5AC1CB946E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Billede 8">
            <a:extLst>
              <a:ext uri="{FF2B5EF4-FFF2-40B4-BE49-F238E27FC236}">
                <a16:creationId xmlns:a16="http://schemas.microsoft.com/office/drawing/2014/main" id="{BFB293E3-D6D0-2F03-B1B9-4FCB608F4430}"/>
              </a:ext>
            </a:extLst>
          </p:cNvPr>
          <p:cNvPicPr>
            <a:picLocks noChangeAspect="1"/>
          </p:cNvPicPr>
          <p:nvPr/>
        </p:nvPicPr>
        <p:blipFill rotWithShape="1">
          <a:blip r:embed="rId3" cstate="screen">
            <a:alphaModFix amt="40000"/>
            <a:extLst>
              <a:ext uri="{28A0092B-C50C-407E-A947-70E740481C1C}">
                <a14:useLocalDpi xmlns:a14="http://schemas.microsoft.com/office/drawing/2010/main"/>
              </a:ext>
            </a:extLst>
          </a:blip>
          <a:srcRect/>
          <a:stretch/>
        </p:blipFill>
        <p:spPr>
          <a:xfrm>
            <a:off x="20" y="-3"/>
            <a:ext cx="12188762" cy="6858000"/>
          </a:xfrm>
          <a:prstGeom prst="rect">
            <a:avLst/>
          </a:prstGeom>
        </p:spPr>
      </p:pic>
      <p:pic>
        <p:nvPicPr>
          <p:cNvPr id="7" name="Billede 6">
            <a:extLst>
              <a:ext uri="{FF2B5EF4-FFF2-40B4-BE49-F238E27FC236}">
                <a16:creationId xmlns:a16="http://schemas.microsoft.com/office/drawing/2014/main" id="{900834BA-17F2-B213-CBD8-FD02A9E6BC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06845" y="6"/>
            <a:ext cx="4101288" cy="3418797"/>
          </a:xfrm>
          <a:custGeom>
            <a:avLst/>
            <a:gdLst/>
            <a:ahLst/>
            <a:cxnLst/>
            <a:rect l="l" t="t" r="r" b="b"/>
            <a:pathLst>
              <a:path w="4101288" h="3418797">
                <a:moveTo>
                  <a:pt x="989912" y="0"/>
                </a:moveTo>
                <a:lnTo>
                  <a:pt x="3844502" y="0"/>
                </a:lnTo>
                <a:lnTo>
                  <a:pt x="3760850" y="25406"/>
                </a:lnTo>
                <a:cubicBezTo>
                  <a:pt x="3711615" y="43967"/>
                  <a:pt x="3663870" y="67007"/>
                  <a:pt x="3618425" y="98254"/>
                </a:cubicBezTo>
                <a:cubicBezTo>
                  <a:pt x="3626136" y="110145"/>
                  <a:pt x="3665355" y="144049"/>
                  <a:pt x="3649272" y="146579"/>
                </a:cubicBezTo>
                <a:cubicBezTo>
                  <a:pt x="3604102" y="153917"/>
                  <a:pt x="3564000" y="178711"/>
                  <a:pt x="3522797" y="199205"/>
                </a:cubicBezTo>
                <a:cubicBezTo>
                  <a:pt x="3504948" y="208060"/>
                  <a:pt x="3483356" y="219700"/>
                  <a:pt x="3491728" y="251325"/>
                </a:cubicBezTo>
                <a:cubicBezTo>
                  <a:pt x="3506932" y="260181"/>
                  <a:pt x="3518169" y="247783"/>
                  <a:pt x="3530727" y="246772"/>
                </a:cubicBezTo>
                <a:cubicBezTo>
                  <a:pt x="3543507" y="245761"/>
                  <a:pt x="3572153" y="252336"/>
                  <a:pt x="3564219" y="256638"/>
                </a:cubicBezTo>
                <a:cubicBezTo>
                  <a:pt x="3528083" y="276121"/>
                  <a:pt x="3593085" y="322928"/>
                  <a:pt x="3550339" y="322928"/>
                </a:cubicBezTo>
                <a:cubicBezTo>
                  <a:pt x="3478728" y="323181"/>
                  <a:pt x="3440609" y="406169"/>
                  <a:pt x="3371643" y="408447"/>
                </a:cubicBezTo>
                <a:cubicBezTo>
                  <a:pt x="3360627" y="408698"/>
                  <a:pt x="3355338" y="423373"/>
                  <a:pt x="3355558" y="436278"/>
                </a:cubicBezTo>
                <a:cubicBezTo>
                  <a:pt x="3355558" y="451712"/>
                  <a:pt x="3365694" y="454494"/>
                  <a:pt x="3376931" y="456013"/>
                </a:cubicBezTo>
                <a:cubicBezTo>
                  <a:pt x="3394118" y="458289"/>
                  <a:pt x="3411965" y="436278"/>
                  <a:pt x="3434660" y="466133"/>
                </a:cubicBezTo>
                <a:cubicBezTo>
                  <a:pt x="3393898" y="483590"/>
                  <a:pt x="3353135" y="501049"/>
                  <a:pt x="3353797" y="561013"/>
                </a:cubicBezTo>
                <a:cubicBezTo>
                  <a:pt x="3354015" y="577205"/>
                  <a:pt x="3337050" y="583277"/>
                  <a:pt x="3324270" y="587325"/>
                </a:cubicBezTo>
                <a:cubicBezTo>
                  <a:pt x="3303117" y="593904"/>
                  <a:pt x="3285272" y="605543"/>
                  <a:pt x="3273812" y="628061"/>
                </a:cubicBezTo>
                <a:cubicBezTo>
                  <a:pt x="3274033" y="632362"/>
                  <a:pt x="3274254" y="636917"/>
                  <a:pt x="3272930" y="640459"/>
                </a:cubicBezTo>
                <a:cubicBezTo>
                  <a:pt x="3276676" y="694855"/>
                  <a:pt x="3307523" y="693336"/>
                  <a:pt x="3341676" y="684230"/>
                </a:cubicBezTo>
                <a:cubicBezTo>
                  <a:pt x="3382439" y="673096"/>
                  <a:pt x="3422762" y="652855"/>
                  <a:pt x="3465728" y="672338"/>
                </a:cubicBezTo>
                <a:cubicBezTo>
                  <a:pt x="3405133" y="698397"/>
                  <a:pt x="3339253" y="700422"/>
                  <a:pt x="3282405" y="737615"/>
                </a:cubicBezTo>
                <a:cubicBezTo>
                  <a:pt x="3490406" y="744447"/>
                  <a:pt x="3674169" y="627048"/>
                  <a:pt x="3875781" y="582013"/>
                </a:cubicBezTo>
                <a:cubicBezTo>
                  <a:pt x="3868951" y="612120"/>
                  <a:pt x="3852646" y="618193"/>
                  <a:pt x="3837883" y="622747"/>
                </a:cubicBezTo>
                <a:cubicBezTo>
                  <a:pt x="3763408" y="645519"/>
                  <a:pt x="3698188" y="690809"/>
                  <a:pt x="3630322" y="730023"/>
                </a:cubicBezTo>
                <a:cubicBezTo>
                  <a:pt x="3602340" y="746216"/>
                  <a:pt x="3582066" y="762411"/>
                  <a:pt x="3571492" y="797327"/>
                </a:cubicBezTo>
                <a:cubicBezTo>
                  <a:pt x="3562015" y="828953"/>
                  <a:pt x="3543728" y="843628"/>
                  <a:pt x="3509797" y="834518"/>
                </a:cubicBezTo>
                <a:cubicBezTo>
                  <a:pt x="3482254" y="826927"/>
                  <a:pt x="3452068" y="830975"/>
                  <a:pt x="3423203" y="833760"/>
                </a:cubicBezTo>
                <a:cubicBezTo>
                  <a:pt x="3389931" y="836796"/>
                  <a:pt x="3352693" y="872470"/>
                  <a:pt x="3361728" y="890941"/>
                </a:cubicBezTo>
                <a:cubicBezTo>
                  <a:pt x="3377151" y="922314"/>
                  <a:pt x="3402931" y="906627"/>
                  <a:pt x="3425847" y="903084"/>
                </a:cubicBezTo>
                <a:cubicBezTo>
                  <a:pt x="3451848" y="898784"/>
                  <a:pt x="3500100" y="889927"/>
                  <a:pt x="3500982" y="893723"/>
                </a:cubicBezTo>
                <a:cubicBezTo>
                  <a:pt x="3517950" y="972410"/>
                  <a:pt x="3637374" y="903845"/>
                  <a:pt x="3663154" y="896758"/>
                </a:cubicBezTo>
                <a:cubicBezTo>
                  <a:pt x="3695322" y="887904"/>
                  <a:pt x="3725509" y="904097"/>
                  <a:pt x="3756136" y="907891"/>
                </a:cubicBezTo>
                <a:cubicBezTo>
                  <a:pt x="3783459" y="911433"/>
                  <a:pt x="3937918" y="922314"/>
                  <a:pt x="3969866" y="888915"/>
                </a:cubicBezTo>
                <a:cubicBezTo>
                  <a:pt x="3974273" y="914976"/>
                  <a:pt x="3965020" y="925602"/>
                  <a:pt x="3957306" y="937494"/>
                </a:cubicBezTo>
                <a:cubicBezTo>
                  <a:pt x="3946511" y="954445"/>
                  <a:pt x="3944747" y="966337"/>
                  <a:pt x="3965239" y="979747"/>
                </a:cubicBezTo>
                <a:cubicBezTo>
                  <a:pt x="4023630" y="1018206"/>
                  <a:pt x="4022747" y="1019470"/>
                  <a:pt x="3968324" y="1071591"/>
                </a:cubicBezTo>
                <a:cubicBezTo>
                  <a:pt x="3965678" y="1073867"/>
                  <a:pt x="3966782" y="1081459"/>
                  <a:pt x="3966341" y="1086519"/>
                </a:cubicBezTo>
                <a:cubicBezTo>
                  <a:pt x="3980663" y="1094615"/>
                  <a:pt x="3997409" y="1074373"/>
                  <a:pt x="4014153" y="1096133"/>
                </a:cubicBezTo>
                <a:cubicBezTo>
                  <a:pt x="3941222" y="1191771"/>
                  <a:pt x="3829950" y="1215299"/>
                  <a:pt x="3729254" y="1287157"/>
                </a:cubicBezTo>
                <a:cubicBezTo>
                  <a:pt x="3810780" y="1310939"/>
                  <a:pt x="3859696" y="1227952"/>
                  <a:pt x="3919628" y="1238578"/>
                </a:cubicBezTo>
                <a:cubicBezTo>
                  <a:pt x="3949596" y="1264639"/>
                  <a:pt x="3860577" y="1306386"/>
                  <a:pt x="3945409" y="1318784"/>
                </a:cubicBezTo>
                <a:cubicBezTo>
                  <a:pt x="3908610" y="1341555"/>
                  <a:pt x="3881289" y="1363817"/>
                  <a:pt x="3855951" y="1390133"/>
                </a:cubicBezTo>
                <a:cubicBezTo>
                  <a:pt x="3810780" y="1437192"/>
                  <a:pt x="3801967" y="1468060"/>
                  <a:pt x="3822900" y="1531314"/>
                </a:cubicBezTo>
                <a:cubicBezTo>
                  <a:pt x="3836562" y="1572808"/>
                  <a:pt x="3856611" y="1611013"/>
                  <a:pt x="3838986" y="1660349"/>
                </a:cubicBezTo>
                <a:cubicBezTo>
                  <a:pt x="3826646" y="1694254"/>
                  <a:pt x="3831494" y="1716517"/>
                  <a:pt x="3877323" y="1701337"/>
                </a:cubicBezTo>
                <a:cubicBezTo>
                  <a:pt x="3926679" y="1685144"/>
                  <a:pt x="3945187" y="1715505"/>
                  <a:pt x="3932849" y="1774963"/>
                </a:cubicBezTo>
                <a:cubicBezTo>
                  <a:pt x="3924917" y="1813169"/>
                  <a:pt x="3933291" y="1824806"/>
                  <a:pt x="3967221" y="1820505"/>
                </a:cubicBezTo>
                <a:cubicBezTo>
                  <a:pt x="4004680" y="1815698"/>
                  <a:pt x="4040375" y="1790649"/>
                  <a:pt x="4086646" y="1802795"/>
                </a:cubicBezTo>
                <a:cubicBezTo>
                  <a:pt x="4049631" y="1872120"/>
                  <a:pt x="3970527" y="1852385"/>
                  <a:pt x="3927340" y="1918423"/>
                </a:cubicBezTo>
                <a:cubicBezTo>
                  <a:pt x="3978900" y="1918674"/>
                  <a:pt x="4018341" y="1918423"/>
                  <a:pt x="4056460" y="1903999"/>
                </a:cubicBezTo>
                <a:cubicBezTo>
                  <a:pt x="4072325" y="1898179"/>
                  <a:pt x="4089732" y="1892109"/>
                  <a:pt x="4098545" y="1912096"/>
                </a:cubicBezTo>
                <a:cubicBezTo>
                  <a:pt x="4108901" y="1936132"/>
                  <a:pt x="4087529" y="1945241"/>
                  <a:pt x="4074527" y="1949542"/>
                </a:cubicBezTo>
                <a:cubicBezTo>
                  <a:pt x="4037951" y="1961686"/>
                  <a:pt x="4009969" y="1990529"/>
                  <a:pt x="3979782" y="2013047"/>
                </a:cubicBezTo>
                <a:cubicBezTo>
                  <a:pt x="3913460" y="2062386"/>
                  <a:pt x="3840746" y="2103626"/>
                  <a:pt x="3784559" y="2185097"/>
                </a:cubicBezTo>
                <a:cubicBezTo>
                  <a:pt x="3855290" y="2164349"/>
                  <a:pt x="3907951" y="2116025"/>
                  <a:pt x="3973612" y="2106157"/>
                </a:cubicBezTo>
                <a:cubicBezTo>
                  <a:pt x="3916764" y="2180290"/>
                  <a:pt x="3843611" y="2229120"/>
                  <a:pt x="3774426" y="2283011"/>
                </a:cubicBezTo>
                <a:cubicBezTo>
                  <a:pt x="3754594" y="2298192"/>
                  <a:pt x="3734543" y="2308566"/>
                  <a:pt x="3730136" y="2341710"/>
                </a:cubicBezTo>
                <a:cubicBezTo>
                  <a:pt x="3721542" y="2405976"/>
                  <a:pt x="3695763" y="2459107"/>
                  <a:pt x="3640678" y="2487444"/>
                </a:cubicBezTo>
                <a:cubicBezTo>
                  <a:pt x="3640238" y="2487699"/>
                  <a:pt x="3643322" y="2497314"/>
                  <a:pt x="3645085" y="2503890"/>
                </a:cubicBezTo>
                <a:cubicBezTo>
                  <a:pt x="3678797" y="2505916"/>
                  <a:pt x="3705458" y="2467963"/>
                  <a:pt x="3748425" y="2480360"/>
                </a:cubicBezTo>
                <a:cubicBezTo>
                  <a:pt x="3707220" y="2531974"/>
                  <a:pt x="3672847" y="2578277"/>
                  <a:pt x="3614458" y="2602819"/>
                </a:cubicBezTo>
                <a:cubicBezTo>
                  <a:pt x="3567745" y="2622300"/>
                  <a:pt x="3510016" y="2633686"/>
                  <a:pt x="3476083" y="2696937"/>
                </a:cubicBezTo>
                <a:cubicBezTo>
                  <a:pt x="3515524" y="2709337"/>
                  <a:pt x="3544831" y="2693651"/>
                  <a:pt x="3574357" y="2682517"/>
                </a:cubicBezTo>
                <a:cubicBezTo>
                  <a:pt x="3619525" y="2665312"/>
                  <a:pt x="3664255" y="2645832"/>
                  <a:pt x="3709425" y="2628625"/>
                </a:cubicBezTo>
                <a:cubicBezTo>
                  <a:pt x="3726611" y="2622047"/>
                  <a:pt x="3745340" y="2617491"/>
                  <a:pt x="3756357" y="2648866"/>
                </a:cubicBezTo>
                <a:cubicBezTo>
                  <a:pt x="3698847" y="2655446"/>
                  <a:pt x="3664475" y="2697951"/>
                  <a:pt x="3628340" y="2737926"/>
                </a:cubicBezTo>
                <a:cubicBezTo>
                  <a:pt x="3608067" y="2760445"/>
                  <a:pt x="3591541" y="2790554"/>
                  <a:pt x="3554967" y="2779169"/>
                </a:cubicBezTo>
                <a:cubicBezTo>
                  <a:pt x="3535796" y="2773097"/>
                  <a:pt x="3523678" y="2790046"/>
                  <a:pt x="3525662" y="2810794"/>
                </a:cubicBezTo>
                <a:cubicBezTo>
                  <a:pt x="3532932" y="2883915"/>
                  <a:pt x="3488203" y="2909469"/>
                  <a:pt x="3441932" y="2923637"/>
                </a:cubicBezTo>
                <a:cubicBezTo>
                  <a:pt x="3354236" y="2950204"/>
                  <a:pt x="3281303" y="3012697"/>
                  <a:pt x="3196032" y="3046854"/>
                </a:cubicBezTo>
                <a:cubicBezTo>
                  <a:pt x="3113184" y="3079999"/>
                  <a:pt x="3049065" y="3158685"/>
                  <a:pt x="2965998" y="3199927"/>
                </a:cubicBezTo>
                <a:cubicBezTo>
                  <a:pt x="2905843" y="3229783"/>
                  <a:pt x="2848335" y="3268239"/>
                  <a:pt x="2786418" y="3295311"/>
                </a:cubicBezTo>
                <a:cubicBezTo>
                  <a:pt x="2639894" y="3359324"/>
                  <a:pt x="2490503" y="3410685"/>
                  <a:pt x="2332519" y="3418022"/>
                </a:cubicBezTo>
                <a:cubicBezTo>
                  <a:pt x="2202077" y="3423842"/>
                  <a:pt x="1070633" y="3418277"/>
                  <a:pt x="611003" y="2585615"/>
                </a:cubicBezTo>
                <a:cubicBezTo>
                  <a:pt x="602189" y="2581565"/>
                  <a:pt x="592275" y="2570939"/>
                  <a:pt x="589190" y="2560818"/>
                </a:cubicBezTo>
                <a:cubicBezTo>
                  <a:pt x="574427" y="2513505"/>
                  <a:pt x="538291" y="2493011"/>
                  <a:pt x="505681" y="2467457"/>
                </a:cubicBezTo>
                <a:cubicBezTo>
                  <a:pt x="477036" y="2444939"/>
                  <a:pt x="446628" y="2421409"/>
                  <a:pt x="434730" y="2383456"/>
                </a:cubicBezTo>
                <a:cubicBezTo>
                  <a:pt x="419086" y="2332854"/>
                  <a:pt x="463594" y="2374348"/>
                  <a:pt x="471748" y="2355119"/>
                </a:cubicBezTo>
                <a:cubicBezTo>
                  <a:pt x="454782" y="2328807"/>
                  <a:pt x="428560" y="2304770"/>
                  <a:pt x="421730" y="2274915"/>
                </a:cubicBezTo>
                <a:cubicBezTo>
                  <a:pt x="396833" y="2167131"/>
                  <a:pt x="343069" y="2088698"/>
                  <a:pt x="262645" y="2027722"/>
                </a:cubicBezTo>
                <a:cubicBezTo>
                  <a:pt x="239509" y="2010264"/>
                  <a:pt x="224307" y="1978384"/>
                  <a:pt x="192799" y="1973326"/>
                </a:cubicBezTo>
                <a:cubicBezTo>
                  <a:pt x="122730" y="1962193"/>
                  <a:pt x="144764" y="1875156"/>
                  <a:pt x="107746" y="1836446"/>
                </a:cubicBezTo>
                <a:cubicBezTo>
                  <a:pt x="100695" y="1829107"/>
                  <a:pt x="94306" y="1814687"/>
                  <a:pt x="95627" y="1804821"/>
                </a:cubicBezTo>
                <a:cubicBezTo>
                  <a:pt x="97609" y="1790649"/>
                  <a:pt x="105983" y="1777240"/>
                  <a:pt x="113034" y="1764589"/>
                </a:cubicBezTo>
                <a:cubicBezTo>
                  <a:pt x="120306" y="1751939"/>
                  <a:pt x="131322" y="1740806"/>
                  <a:pt x="126034" y="1724108"/>
                </a:cubicBezTo>
                <a:cubicBezTo>
                  <a:pt x="123833" y="1717277"/>
                  <a:pt x="125373" y="1693494"/>
                  <a:pt x="109068" y="1712215"/>
                </a:cubicBezTo>
                <a:cubicBezTo>
                  <a:pt x="64340" y="1763578"/>
                  <a:pt x="38339" y="1715001"/>
                  <a:pt x="0" y="1691723"/>
                </a:cubicBezTo>
                <a:cubicBezTo>
                  <a:pt x="30848" y="1667686"/>
                  <a:pt x="58610" y="1650735"/>
                  <a:pt x="63238" y="1614808"/>
                </a:cubicBezTo>
                <a:cubicBezTo>
                  <a:pt x="72712" y="1540674"/>
                  <a:pt x="113253" y="1506772"/>
                  <a:pt x="174729" y="1500192"/>
                </a:cubicBezTo>
                <a:cubicBezTo>
                  <a:pt x="152034" y="1428591"/>
                  <a:pt x="152034" y="1428591"/>
                  <a:pt x="225408" y="1418722"/>
                </a:cubicBezTo>
                <a:cubicBezTo>
                  <a:pt x="197204" y="1373181"/>
                  <a:pt x="197204" y="1361542"/>
                  <a:pt x="231358" y="1345855"/>
                </a:cubicBezTo>
                <a:cubicBezTo>
                  <a:pt x="264188" y="1330927"/>
                  <a:pt x="300543" y="1325867"/>
                  <a:pt x="330952" y="1302844"/>
                </a:cubicBezTo>
                <a:cubicBezTo>
                  <a:pt x="302967" y="1244651"/>
                  <a:pt x="295035" y="1177097"/>
                  <a:pt x="237307" y="1148758"/>
                </a:cubicBezTo>
                <a:cubicBezTo>
                  <a:pt x="228273" y="1144458"/>
                  <a:pt x="222103" y="1127000"/>
                  <a:pt x="227831" y="1116880"/>
                </a:cubicBezTo>
                <a:cubicBezTo>
                  <a:pt x="248764" y="1080194"/>
                  <a:pt x="218798" y="1010614"/>
                  <a:pt x="284017" y="1002772"/>
                </a:cubicBezTo>
                <a:cubicBezTo>
                  <a:pt x="292171" y="1002013"/>
                  <a:pt x="299663" y="994421"/>
                  <a:pt x="293273" y="984554"/>
                </a:cubicBezTo>
                <a:cubicBezTo>
                  <a:pt x="271238" y="950145"/>
                  <a:pt x="297900" y="952421"/>
                  <a:pt x="313983" y="948120"/>
                </a:cubicBezTo>
                <a:cubicBezTo>
                  <a:pt x="333375" y="942809"/>
                  <a:pt x="355409" y="957988"/>
                  <a:pt x="373477" y="939265"/>
                </a:cubicBezTo>
                <a:cubicBezTo>
                  <a:pt x="369289" y="919530"/>
                  <a:pt x="353646" y="919783"/>
                  <a:pt x="342629" y="913458"/>
                </a:cubicBezTo>
                <a:cubicBezTo>
                  <a:pt x="310460" y="895240"/>
                  <a:pt x="284238" y="873483"/>
                  <a:pt x="282695" y="826169"/>
                </a:cubicBezTo>
                <a:cubicBezTo>
                  <a:pt x="281595" y="787964"/>
                  <a:pt x="278069" y="754314"/>
                  <a:pt x="322578" y="742675"/>
                </a:cubicBezTo>
                <a:cubicBezTo>
                  <a:pt x="341086" y="737866"/>
                  <a:pt x="335797" y="710289"/>
                  <a:pt x="325221" y="696626"/>
                </a:cubicBezTo>
                <a:cubicBezTo>
                  <a:pt x="306272" y="672338"/>
                  <a:pt x="290629" y="639953"/>
                  <a:pt x="258017" y="637675"/>
                </a:cubicBezTo>
                <a:cubicBezTo>
                  <a:pt x="238187" y="636158"/>
                  <a:pt x="222983" y="626035"/>
                  <a:pt x="207340" y="614398"/>
                </a:cubicBezTo>
                <a:cubicBezTo>
                  <a:pt x="196103" y="606047"/>
                  <a:pt x="182662" y="598964"/>
                  <a:pt x="183983" y="581001"/>
                </a:cubicBezTo>
                <a:cubicBezTo>
                  <a:pt x="185306" y="563795"/>
                  <a:pt x="198305" y="556711"/>
                  <a:pt x="211526" y="553169"/>
                </a:cubicBezTo>
                <a:cubicBezTo>
                  <a:pt x="255595" y="541784"/>
                  <a:pt x="297017" y="525085"/>
                  <a:pt x="333816" y="486880"/>
                </a:cubicBezTo>
                <a:cubicBezTo>
                  <a:pt x="309357" y="466639"/>
                  <a:pt x="286001" y="451964"/>
                  <a:pt x="267934" y="431469"/>
                </a:cubicBezTo>
                <a:cubicBezTo>
                  <a:pt x="224307" y="381881"/>
                  <a:pt x="593817" y="225772"/>
                  <a:pt x="612325" y="170108"/>
                </a:cubicBezTo>
                <a:cubicBezTo>
                  <a:pt x="618054" y="152904"/>
                  <a:pt x="637663" y="135194"/>
                  <a:pt x="653971" y="130133"/>
                </a:cubicBezTo>
                <a:cubicBezTo>
                  <a:pt x="730427" y="106350"/>
                  <a:pt x="796748" y="52963"/>
                  <a:pt x="874970" y="33228"/>
                </a:cubicBezTo>
                <a:cubicBezTo>
                  <a:pt x="911877" y="23867"/>
                  <a:pt x="948509" y="12925"/>
                  <a:pt x="986021" y="1223"/>
                </a:cubicBezTo>
                <a:close/>
              </a:path>
            </a:pathLst>
          </a:custGeom>
        </p:spPr>
      </p:pic>
      <p:pic>
        <p:nvPicPr>
          <p:cNvPr id="5" name="Billede 4">
            <a:extLst>
              <a:ext uri="{FF2B5EF4-FFF2-40B4-BE49-F238E27FC236}">
                <a16:creationId xmlns:a16="http://schemas.microsoft.com/office/drawing/2014/main" id="{ACF89450-6E45-8E5B-6BDB-CA32383267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1"/>
          <a:stretch/>
        </p:blipFill>
        <p:spPr>
          <a:xfrm>
            <a:off x="20" y="277469"/>
            <a:ext cx="4552718" cy="5946218"/>
          </a:xfrm>
          <a:custGeom>
            <a:avLst/>
            <a:gdLst/>
            <a:ahLst/>
            <a:cxnLst/>
            <a:rect l="l" t="t" r="r" b="b"/>
            <a:pathLst>
              <a:path w="4552738" h="5946218">
                <a:moveTo>
                  <a:pt x="0" y="0"/>
                </a:moveTo>
                <a:lnTo>
                  <a:pt x="193217" y="10418"/>
                </a:lnTo>
                <a:cubicBezTo>
                  <a:pt x="612089" y="35802"/>
                  <a:pt x="1030148" y="71660"/>
                  <a:pt x="1446580" y="128061"/>
                </a:cubicBezTo>
                <a:cubicBezTo>
                  <a:pt x="1735723" y="167547"/>
                  <a:pt x="2027715" y="194943"/>
                  <a:pt x="2320927" y="163517"/>
                </a:cubicBezTo>
                <a:cubicBezTo>
                  <a:pt x="2335563" y="161905"/>
                  <a:pt x="2352239" y="156669"/>
                  <a:pt x="2364438" y="161905"/>
                </a:cubicBezTo>
                <a:cubicBezTo>
                  <a:pt x="2506776" y="220729"/>
                  <a:pt x="2662121" y="178424"/>
                  <a:pt x="2809744" y="215490"/>
                </a:cubicBezTo>
                <a:cubicBezTo>
                  <a:pt x="2771925" y="358517"/>
                  <a:pt x="2609662" y="346832"/>
                  <a:pt x="2518162" y="445944"/>
                </a:cubicBezTo>
                <a:cubicBezTo>
                  <a:pt x="2667409" y="485424"/>
                  <a:pt x="2801610" y="525312"/>
                  <a:pt x="2937846" y="555124"/>
                </a:cubicBezTo>
                <a:cubicBezTo>
                  <a:pt x="3082216" y="586550"/>
                  <a:pt x="3204622" y="671561"/>
                  <a:pt x="3345734" y="709433"/>
                </a:cubicBezTo>
                <a:cubicBezTo>
                  <a:pt x="3375832" y="717492"/>
                  <a:pt x="3412025" y="745693"/>
                  <a:pt x="3422598" y="773089"/>
                </a:cubicBezTo>
                <a:cubicBezTo>
                  <a:pt x="3456757" y="861726"/>
                  <a:pt x="4138745" y="1110310"/>
                  <a:pt x="4058225" y="1189273"/>
                </a:cubicBezTo>
                <a:cubicBezTo>
                  <a:pt x="4024878" y="1221909"/>
                  <a:pt x="3981773" y="1245276"/>
                  <a:pt x="3936629" y="1277508"/>
                </a:cubicBezTo>
                <a:cubicBezTo>
                  <a:pt x="4004547" y="1338344"/>
                  <a:pt x="4080998" y="1364935"/>
                  <a:pt x="4162334" y="1383065"/>
                </a:cubicBezTo>
                <a:cubicBezTo>
                  <a:pt x="4186736" y="1388705"/>
                  <a:pt x="4210728" y="1399986"/>
                  <a:pt x="4213168" y="1427383"/>
                </a:cubicBezTo>
                <a:cubicBezTo>
                  <a:pt x="4215607" y="1455987"/>
                  <a:pt x="4190800" y="1467266"/>
                  <a:pt x="4170061" y="1480564"/>
                </a:cubicBezTo>
                <a:cubicBezTo>
                  <a:pt x="4141188" y="1499095"/>
                  <a:pt x="4113127" y="1515214"/>
                  <a:pt x="4076527" y="1517630"/>
                </a:cubicBezTo>
                <a:cubicBezTo>
                  <a:pt x="4016337" y="1521257"/>
                  <a:pt x="3987466" y="1572826"/>
                  <a:pt x="3952493" y="1611502"/>
                </a:cubicBezTo>
                <a:cubicBezTo>
                  <a:pt x="3932973" y="1633259"/>
                  <a:pt x="3923211" y="1677172"/>
                  <a:pt x="3957370" y="1684828"/>
                </a:cubicBezTo>
                <a:cubicBezTo>
                  <a:pt x="4039518" y="1703363"/>
                  <a:pt x="4033011" y="1756946"/>
                  <a:pt x="4030981" y="1817782"/>
                </a:cubicBezTo>
                <a:cubicBezTo>
                  <a:pt x="4028133" y="1893124"/>
                  <a:pt x="3979737" y="1927770"/>
                  <a:pt x="3920363" y="1956780"/>
                </a:cubicBezTo>
                <a:cubicBezTo>
                  <a:pt x="3900029" y="1966851"/>
                  <a:pt x="3871158" y="1966449"/>
                  <a:pt x="3863429" y="1997874"/>
                </a:cubicBezTo>
                <a:cubicBezTo>
                  <a:pt x="3896777" y="2027688"/>
                  <a:pt x="3937444" y="2003517"/>
                  <a:pt x="3973233" y="2011975"/>
                </a:cubicBezTo>
                <a:cubicBezTo>
                  <a:pt x="4002918" y="2018824"/>
                  <a:pt x="4052127" y="2015199"/>
                  <a:pt x="4011458" y="2069991"/>
                </a:cubicBezTo>
                <a:cubicBezTo>
                  <a:pt x="3999664" y="2085704"/>
                  <a:pt x="4013491" y="2097792"/>
                  <a:pt x="4028540" y="2099000"/>
                </a:cubicBezTo>
                <a:cubicBezTo>
                  <a:pt x="4148913" y="2111489"/>
                  <a:pt x="4093606" y="2222285"/>
                  <a:pt x="4132241" y="2280703"/>
                </a:cubicBezTo>
                <a:cubicBezTo>
                  <a:pt x="4142812" y="2296818"/>
                  <a:pt x="4131425" y="2324618"/>
                  <a:pt x="4114752" y="2331466"/>
                </a:cubicBezTo>
                <a:cubicBezTo>
                  <a:pt x="4008205" y="2376592"/>
                  <a:pt x="3993565" y="2484163"/>
                  <a:pt x="3941916" y="2576828"/>
                </a:cubicBezTo>
                <a:cubicBezTo>
                  <a:pt x="3998039" y="2613488"/>
                  <a:pt x="4065138" y="2621547"/>
                  <a:pt x="4125732" y="2645318"/>
                </a:cubicBezTo>
                <a:cubicBezTo>
                  <a:pt x="4188768" y="2670298"/>
                  <a:pt x="4188768" y="2688831"/>
                  <a:pt x="4136714" y="2761349"/>
                </a:cubicBezTo>
                <a:cubicBezTo>
                  <a:pt x="4272135" y="2777064"/>
                  <a:pt x="4272135" y="2777064"/>
                  <a:pt x="4230249" y="2891080"/>
                </a:cubicBezTo>
                <a:cubicBezTo>
                  <a:pt x="4343713" y="2901557"/>
                  <a:pt x="4418537" y="2955542"/>
                  <a:pt x="4436023" y="3073591"/>
                </a:cubicBezTo>
                <a:cubicBezTo>
                  <a:pt x="4444564" y="3130800"/>
                  <a:pt x="4495804" y="3157792"/>
                  <a:pt x="4552738" y="3196068"/>
                </a:cubicBezTo>
                <a:cubicBezTo>
                  <a:pt x="4481978" y="3233136"/>
                  <a:pt x="4433989" y="3310489"/>
                  <a:pt x="4351436" y="3228700"/>
                </a:cubicBezTo>
                <a:cubicBezTo>
                  <a:pt x="4321344" y="3198888"/>
                  <a:pt x="4324186" y="3236761"/>
                  <a:pt x="4320122" y="3247637"/>
                </a:cubicBezTo>
                <a:cubicBezTo>
                  <a:pt x="4310364" y="3274227"/>
                  <a:pt x="4330695" y="3291956"/>
                  <a:pt x="4344116" y="3312099"/>
                </a:cubicBezTo>
                <a:cubicBezTo>
                  <a:pt x="4357130" y="3332244"/>
                  <a:pt x="4372586" y="3353596"/>
                  <a:pt x="4376244" y="3376163"/>
                </a:cubicBezTo>
                <a:cubicBezTo>
                  <a:pt x="4378682" y="3391874"/>
                  <a:pt x="4366890" y="3414835"/>
                  <a:pt x="4353877" y="3426522"/>
                </a:cubicBezTo>
                <a:cubicBezTo>
                  <a:pt x="4285554" y="3488163"/>
                  <a:pt x="4326221" y="3626757"/>
                  <a:pt x="4196898" y="3644486"/>
                </a:cubicBezTo>
                <a:cubicBezTo>
                  <a:pt x="4138745" y="3652541"/>
                  <a:pt x="4110687" y="3703306"/>
                  <a:pt x="4067986" y="3731106"/>
                </a:cubicBezTo>
                <a:cubicBezTo>
                  <a:pt x="3919551" y="3828201"/>
                  <a:pt x="3820322" y="3953097"/>
                  <a:pt x="3774370" y="4124729"/>
                </a:cubicBezTo>
                <a:cubicBezTo>
                  <a:pt x="3761764" y="4172269"/>
                  <a:pt x="3713368" y="4210546"/>
                  <a:pt x="3682054" y="4252444"/>
                </a:cubicBezTo>
                <a:cubicBezTo>
                  <a:pt x="3697103" y="4283064"/>
                  <a:pt x="3779250" y="4216990"/>
                  <a:pt x="3750377" y="4297567"/>
                </a:cubicBezTo>
                <a:cubicBezTo>
                  <a:pt x="3728417" y="4358002"/>
                  <a:pt x="3672294" y="4395470"/>
                  <a:pt x="3619425" y="4431328"/>
                </a:cubicBezTo>
                <a:cubicBezTo>
                  <a:pt x="3559239" y="4472019"/>
                  <a:pt x="3492545" y="4504653"/>
                  <a:pt x="3465296" y="4579993"/>
                </a:cubicBezTo>
                <a:cubicBezTo>
                  <a:pt x="3459603" y="4596110"/>
                  <a:pt x="3441305" y="4613031"/>
                  <a:pt x="3425038" y="4619479"/>
                </a:cubicBezTo>
                <a:cubicBezTo>
                  <a:pt x="2576720" y="5945389"/>
                  <a:pt x="488463" y="5954251"/>
                  <a:pt x="247714" y="5944983"/>
                </a:cubicBezTo>
                <a:cubicBezTo>
                  <a:pt x="174818" y="5942062"/>
                  <a:pt x="102913" y="5934760"/>
                  <a:pt x="31834" y="5923857"/>
                </a:cubicBezTo>
                <a:lnTo>
                  <a:pt x="0" y="5917408"/>
                </a:lnTo>
                <a:close/>
              </a:path>
            </a:pathLst>
          </a:custGeom>
        </p:spPr>
      </p:pic>
      <p:pic>
        <p:nvPicPr>
          <p:cNvPr id="3" name="Billede 2">
            <a:extLst>
              <a:ext uri="{FF2B5EF4-FFF2-40B4-BE49-F238E27FC236}">
                <a16:creationId xmlns:a16="http://schemas.microsoft.com/office/drawing/2014/main" id="{A57A27D8-4870-D812-488F-A9D32985525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53074" y="-2"/>
            <a:ext cx="3538926" cy="4290182"/>
          </a:xfrm>
          <a:custGeom>
            <a:avLst/>
            <a:gdLst/>
            <a:ahLst/>
            <a:cxnLst/>
            <a:rect l="l" t="t" r="r" b="b"/>
            <a:pathLst>
              <a:path w="3538926" h="4290182">
                <a:moveTo>
                  <a:pt x="1370437" y="0"/>
                </a:moveTo>
                <a:lnTo>
                  <a:pt x="3538926" y="0"/>
                </a:lnTo>
                <a:lnTo>
                  <a:pt x="3538926" y="4256362"/>
                </a:lnTo>
                <a:lnTo>
                  <a:pt x="3455334" y="4273195"/>
                </a:lnTo>
                <a:cubicBezTo>
                  <a:pt x="3401009" y="4281478"/>
                  <a:pt x="3346052" y="4287025"/>
                  <a:pt x="3290337" y="4289244"/>
                </a:cubicBezTo>
                <a:cubicBezTo>
                  <a:pt x="3106332" y="4296285"/>
                  <a:pt x="1510274" y="4289552"/>
                  <a:pt x="861903" y="3282295"/>
                </a:cubicBezTo>
                <a:cubicBezTo>
                  <a:pt x="849470" y="3277397"/>
                  <a:pt x="835485" y="3264542"/>
                  <a:pt x="831133" y="3252299"/>
                </a:cubicBezTo>
                <a:cubicBezTo>
                  <a:pt x="810307" y="3195065"/>
                  <a:pt x="759333" y="3170274"/>
                  <a:pt x="713332" y="3139362"/>
                </a:cubicBezTo>
                <a:cubicBezTo>
                  <a:pt x="672925" y="3112122"/>
                  <a:pt x="630030" y="3083658"/>
                  <a:pt x="613246" y="3037747"/>
                </a:cubicBezTo>
                <a:cubicBezTo>
                  <a:pt x="591178" y="2976535"/>
                  <a:pt x="653963" y="3026730"/>
                  <a:pt x="665465" y="3003469"/>
                </a:cubicBezTo>
                <a:cubicBezTo>
                  <a:pt x="641532" y="2971640"/>
                  <a:pt x="604543" y="2942562"/>
                  <a:pt x="594908" y="2906447"/>
                </a:cubicBezTo>
                <a:cubicBezTo>
                  <a:pt x="559787" y="2776063"/>
                  <a:pt x="483946" y="2681183"/>
                  <a:pt x="370497" y="2607422"/>
                </a:cubicBezTo>
                <a:cubicBezTo>
                  <a:pt x="337860" y="2586304"/>
                  <a:pt x="316415" y="2547739"/>
                  <a:pt x="271969" y="2541620"/>
                </a:cubicBezTo>
                <a:cubicBezTo>
                  <a:pt x="173127" y="2528152"/>
                  <a:pt x="204209" y="2422866"/>
                  <a:pt x="151990" y="2376038"/>
                </a:cubicBezTo>
                <a:cubicBezTo>
                  <a:pt x="142044" y="2367161"/>
                  <a:pt x="133031" y="2349717"/>
                  <a:pt x="134895" y="2337782"/>
                </a:cubicBezTo>
                <a:cubicBezTo>
                  <a:pt x="137691" y="2320639"/>
                  <a:pt x="149504" y="2304419"/>
                  <a:pt x="159450" y="2289115"/>
                </a:cubicBezTo>
                <a:cubicBezTo>
                  <a:pt x="169707" y="2273813"/>
                  <a:pt x="185247" y="2260344"/>
                  <a:pt x="177788" y="2240145"/>
                </a:cubicBezTo>
                <a:cubicBezTo>
                  <a:pt x="174683" y="2231882"/>
                  <a:pt x="176855" y="2203112"/>
                  <a:pt x="153855" y="2225759"/>
                </a:cubicBezTo>
                <a:cubicBezTo>
                  <a:pt x="90759" y="2287892"/>
                  <a:pt x="54081" y="2229129"/>
                  <a:pt x="0" y="2200970"/>
                </a:cubicBezTo>
                <a:cubicBezTo>
                  <a:pt x="43514" y="2171892"/>
                  <a:pt x="82677" y="2151388"/>
                  <a:pt x="89205" y="2107927"/>
                </a:cubicBezTo>
                <a:cubicBezTo>
                  <a:pt x="102570" y="2018249"/>
                  <a:pt x="159758" y="1977237"/>
                  <a:pt x="246479" y="1969279"/>
                </a:cubicBezTo>
                <a:cubicBezTo>
                  <a:pt x="214465" y="1882663"/>
                  <a:pt x="214465" y="1882663"/>
                  <a:pt x="317968" y="1870725"/>
                </a:cubicBezTo>
                <a:cubicBezTo>
                  <a:pt x="278183" y="1815635"/>
                  <a:pt x="278183" y="1801556"/>
                  <a:pt x="326361" y="1782580"/>
                </a:cubicBezTo>
                <a:cubicBezTo>
                  <a:pt x="372673" y="1764521"/>
                  <a:pt x="423957" y="1758400"/>
                  <a:pt x="466852" y="1730550"/>
                </a:cubicBezTo>
                <a:cubicBezTo>
                  <a:pt x="427377" y="1660155"/>
                  <a:pt x="416187" y="1578436"/>
                  <a:pt x="334753" y="1544155"/>
                </a:cubicBezTo>
                <a:cubicBezTo>
                  <a:pt x="322010" y="1538952"/>
                  <a:pt x="313307" y="1517834"/>
                  <a:pt x="321386" y="1505592"/>
                </a:cubicBezTo>
                <a:cubicBezTo>
                  <a:pt x="350915" y="1461214"/>
                  <a:pt x="308644" y="1377045"/>
                  <a:pt x="400645" y="1367557"/>
                </a:cubicBezTo>
                <a:cubicBezTo>
                  <a:pt x="412147" y="1366640"/>
                  <a:pt x="422716" y="1357456"/>
                  <a:pt x="413701" y="1345520"/>
                </a:cubicBezTo>
                <a:cubicBezTo>
                  <a:pt x="382618" y="1303896"/>
                  <a:pt x="420228" y="1306649"/>
                  <a:pt x="442916" y="1301447"/>
                </a:cubicBezTo>
                <a:cubicBezTo>
                  <a:pt x="470270" y="1295021"/>
                  <a:pt x="501352" y="1313384"/>
                  <a:pt x="526840" y="1290735"/>
                </a:cubicBezTo>
                <a:cubicBezTo>
                  <a:pt x="520932" y="1266862"/>
                  <a:pt x="498866" y="1267167"/>
                  <a:pt x="483325" y="1259517"/>
                </a:cubicBezTo>
                <a:cubicBezTo>
                  <a:pt x="437945" y="1237479"/>
                  <a:pt x="400956" y="1211159"/>
                  <a:pt x="398780" y="1153924"/>
                </a:cubicBezTo>
                <a:cubicBezTo>
                  <a:pt x="397228" y="1107708"/>
                  <a:pt x="392254" y="1067003"/>
                  <a:pt x="455041" y="1052922"/>
                </a:cubicBezTo>
                <a:cubicBezTo>
                  <a:pt x="481149" y="1047106"/>
                  <a:pt x="473687" y="1013747"/>
                  <a:pt x="458768" y="997218"/>
                </a:cubicBezTo>
                <a:cubicBezTo>
                  <a:pt x="432038" y="967837"/>
                  <a:pt x="409972" y="928661"/>
                  <a:pt x="363968" y="925907"/>
                </a:cubicBezTo>
                <a:cubicBezTo>
                  <a:pt x="335995" y="924071"/>
                  <a:pt x="314548" y="911826"/>
                  <a:pt x="292481" y="897749"/>
                </a:cubicBezTo>
                <a:cubicBezTo>
                  <a:pt x="276630" y="887646"/>
                  <a:pt x="257670" y="879078"/>
                  <a:pt x="259533" y="857348"/>
                </a:cubicBezTo>
                <a:cubicBezTo>
                  <a:pt x="261399" y="836535"/>
                  <a:pt x="279736" y="827966"/>
                  <a:pt x="298387" y="823681"/>
                </a:cubicBezTo>
                <a:cubicBezTo>
                  <a:pt x="360552" y="809909"/>
                  <a:pt x="418983" y="789708"/>
                  <a:pt x="470893" y="743493"/>
                </a:cubicBezTo>
                <a:cubicBezTo>
                  <a:pt x="436390" y="719007"/>
                  <a:pt x="403444" y="701256"/>
                  <a:pt x="377957" y="676463"/>
                </a:cubicBezTo>
                <a:cubicBezTo>
                  <a:pt x="316415" y="616477"/>
                  <a:pt x="837660" y="427634"/>
                  <a:pt x="863768" y="360299"/>
                </a:cubicBezTo>
                <a:cubicBezTo>
                  <a:pt x="871849" y="339488"/>
                  <a:pt x="899511" y="318064"/>
                  <a:pt x="922515" y="311942"/>
                </a:cubicBezTo>
                <a:cubicBezTo>
                  <a:pt x="1030367" y="283171"/>
                  <a:pt x="1123922" y="218591"/>
                  <a:pt x="1234265" y="194718"/>
                </a:cubicBezTo>
                <a:cubicBezTo>
                  <a:pt x="1338390" y="172070"/>
                  <a:pt x="1440960" y="141768"/>
                  <a:pt x="1555030" y="111776"/>
                </a:cubicBezTo>
                <a:cubicBezTo>
                  <a:pt x="1520063" y="74130"/>
                  <a:pt x="1471575" y="57526"/>
                  <a:pt x="1428216" y="36752"/>
                </a:cubicBezTo>
                <a:close/>
              </a:path>
            </a:pathLst>
          </a:cu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185491" y="5280099"/>
            <a:ext cx="11817819" cy="1459355"/>
          </a:xfrm>
          <a:prstGeom prst="rect">
            <a:avLst/>
          </a:prstGeom>
        </p:spPr>
        <p:txBody>
          <a:bodyPr vert="horz" lIns="91440" tIns="45720" rIns="91440" bIns="45720" rtlCol="0" anchor="b"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lgn="ctr">
              <a:spcAft>
                <a:spcPts val="600"/>
              </a:spcAft>
            </a:pPr>
            <a:r>
              <a:rPr lang="en-US" sz="2800" kern="1200" dirty="0">
                <a:solidFill>
                  <a:schemeClr val="tx1"/>
                </a:solidFill>
                <a:latin typeface="+mj-lt"/>
                <a:ea typeface="+mj-ea"/>
                <a:cs typeface="+mj-cs"/>
              </a:rPr>
              <a:t>Frugt &amp; Grønt </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Afvikling</a:t>
            </a:r>
            <a:r>
              <a:rPr lang="en-US" sz="2800" b="0" kern="1200" dirty="0">
                <a:solidFill>
                  <a:schemeClr val="tx1"/>
                </a:solidFill>
                <a:latin typeface="+mj-lt"/>
                <a:ea typeface="+mj-ea"/>
                <a:cs typeface="+mj-cs"/>
              </a:rPr>
              <a:t> af </a:t>
            </a:r>
            <a:r>
              <a:rPr lang="en-US" sz="2800" b="0" kern="1200" dirty="0" err="1">
                <a:solidFill>
                  <a:schemeClr val="tx1"/>
                </a:solidFill>
                <a:latin typeface="+mj-lt"/>
                <a:ea typeface="+mj-ea"/>
                <a:cs typeface="+mj-cs"/>
              </a:rPr>
              <a:t>årets</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største</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messe</a:t>
            </a:r>
            <a:r>
              <a:rPr lang="en-US" sz="2800" b="0" kern="1200" dirty="0">
                <a:solidFill>
                  <a:schemeClr val="tx1"/>
                </a:solidFill>
                <a:latin typeface="+mj-lt"/>
                <a:ea typeface="+mj-ea"/>
                <a:cs typeface="+mj-cs"/>
              </a:rPr>
              <a:t> for alle </a:t>
            </a:r>
            <a:r>
              <a:rPr lang="en-US" sz="2800" b="0" kern="1200" dirty="0" err="1">
                <a:solidFill>
                  <a:schemeClr val="tx1"/>
                </a:solidFill>
                <a:latin typeface="+mj-lt"/>
                <a:ea typeface="+mj-ea"/>
                <a:cs typeface="+mj-cs"/>
              </a:rPr>
              <a:t>frugt</a:t>
            </a:r>
            <a:r>
              <a:rPr lang="en-US" sz="2800" b="0" kern="1200" dirty="0">
                <a:solidFill>
                  <a:schemeClr val="tx1"/>
                </a:solidFill>
                <a:latin typeface="+mj-lt"/>
                <a:ea typeface="+mj-ea"/>
                <a:cs typeface="+mj-cs"/>
              </a:rPr>
              <a:t> &amp; </a:t>
            </a:r>
            <a:r>
              <a:rPr lang="en-US" sz="2800" b="0" kern="1200" dirty="0" err="1">
                <a:solidFill>
                  <a:schemeClr val="tx1"/>
                </a:solidFill>
                <a:latin typeface="+mj-lt"/>
                <a:ea typeface="+mj-ea"/>
                <a:cs typeface="+mj-cs"/>
              </a:rPr>
              <a:t>grønt</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ledere</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i</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Kvickly</a:t>
            </a:r>
            <a:r>
              <a:rPr lang="en-US" sz="2800" b="0" kern="1200" dirty="0">
                <a:solidFill>
                  <a:schemeClr val="tx1"/>
                </a:solidFill>
                <a:latin typeface="+mj-lt"/>
                <a:ea typeface="+mj-ea"/>
                <a:cs typeface="+mj-cs"/>
              </a:rPr>
              <a:t> </a:t>
            </a:r>
            <a:r>
              <a:rPr lang="en-US" sz="2800" b="0" kern="1200" dirty="0" err="1">
                <a:solidFill>
                  <a:schemeClr val="tx1"/>
                </a:solidFill>
                <a:latin typeface="+mj-lt"/>
                <a:ea typeface="+mj-ea"/>
                <a:cs typeface="+mj-cs"/>
              </a:rPr>
              <a:t>og</a:t>
            </a:r>
            <a:r>
              <a:rPr lang="en-US" sz="2800" b="0" kern="1200" dirty="0">
                <a:solidFill>
                  <a:schemeClr val="tx1"/>
                </a:solidFill>
                <a:latin typeface="+mj-lt"/>
                <a:ea typeface="+mj-ea"/>
                <a:cs typeface="+mj-cs"/>
              </a:rPr>
              <a:t> Superbrugsen</a:t>
            </a:r>
          </a:p>
        </p:txBody>
      </p:sp>
    </p:spTree>
    <p:extLst>
      <p:ext uri="{BB962C8B-B14F-4D97-AF65-F5344CB8AC3E}">
        <p14:creationId xmlns:p14="http://schemas.microsoft.com/office/powerpoint/2010/main" val="2346608197"/>
      </p:ext>
    </p:extLst>
  </p:cSld>
  <p:clrMapOvr>
    <a:overrideClrMapping bg1="dk1" tx1="lt1" bg2="dk2" tx2="lt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AE5A61D3-DE7C-1755-3A59-B9133973CC2B}"/>
              </a:ext>
            </a:extLst>
          </p:cNvPr>
          <p:cNvPicPr>
            <a:picLocks noChangeAspect="1"/>
          </p:cNvPicPr>
          <p:nvPr/>
        </p:nvPicPr>
        <p:blipFill>
          <a:blip r:embed="rId3"/>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0107311" cy="853141"/>
          </a:xfrm>
          <a:prstGeom prst="rect">
            <a:avLst/>
          </a:prstGeom>
          <a:solidFill>
            <a:schemeClr val="bg1">
              <a:alpha val="75000"/>
            </a:schemeClr>
          </a:solidFill>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Frugt &amp; Grønt </a:t>
            </a:r>
            <a:r>
              <a:rPr lang="da-DK" sz="2400" b="0" dirty="0">
                <a:solidFill>
                  <a:schemeClr val="tx2"/>
                </a:solidFill>
              </a:rPr>
              <a:t>| Markant bedre kundemøde efter vi har investeret i at samle alle butikkernes Frugt &amp; Grønt ledere</a:t>
            </a:r>
          </a:p>
        </p:txBody>
      </p:sp>
      <p:pic>
        <p:nvPicPr>
          <p:cNvPr id="17" name="Billede 16">
            <a:extLst>
              <a:ext uri="{FF2B5EF4-FFF2-40B4-BE49-F238E27FC236}">
                <a16:creationId xmlns:a16="http://schemas.microsoft.com/office/drawing/2014/main" id="{A4396BE1-8F98-7129-CF1E-9CB6953029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71648" y="3769114"/>
            <a:ext cx="1425915" cy="1940311"/>
          </a:xfrm>
          <a:prstGeom prst="rect">
            <a:avLst/>
          </a:prstGeom>
          <a:ln>
            <a:solidFill>
              <a:schemeClr val="tx1"/>
            </a:solidFill>
          </a:ln>
        </p:spPr>
      </p:pic>
      <p:sp>
        <p:nvSpPr>
          <p:cNvPr id="18" name="Rektangel: afrundede hjørner 17">
            <a:extLst>
              <a:ext uri="{FF2B5EF4-FFF2-40B4-BE49-F238E27FC236}">
                <a16:creationId xmlns:a16="http://schemas.microsoft.com/office/drawing/2014/main" id="{D195E9BA-7F87-FAB6-C757-C843B60BF2F1}"/>
              </a:ext>
            </a:extLst>
          </p:cNvPr>
          <p:cNvSpPr/>
          <p:nvPr/>
        </p:nvSpPr>
        <p:spPr>
          <a:xfrm>
            <a:off x="100361" y="5796590"/>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Markant bedre kundemøde</a:t>
            </a:r>
          </a:p>
        </p:txBody>
      </p:sp>
      <p:sp>
        <p:nvSpPr>
          <p:cNvPr id="19" name="Rektangel: afrundede hjørner 18">
            <a:extLst>
              <a:ext uri="{FF2B5EF4-FFF2-40B4-BE49-F238E27FC236}">
                <a16:creationId xmlns:a16="http://schemas.microsoft.com/office/drawing/2014/main" id="{E740A0BB-BDA1-1E64-C3E5-F1B1A2779D86}"/>
              </a:ext>
            </a:extLst>
          </p:cNvPr>
          <p:cNvSpPr/>
          <p:nvPr/>
        </p:nvSpPr>
        <p:spPr>
          <a:xfrm>
            <a:off x="3126059"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Løftet kvalitet &amp; friskhed</a:t>
            </a:r>
          </a:p>
        </p:txBody>
      </p:sp>
      <p:pic>
        <p:nvPicPr>
          <p:cNvPr id="5" name="Billede 4">
            <a:extLst>
              <a:ext uri="{FF2B5EF4-FFF2-40B4-BE49-F238E27FC236}">
                <a16:creationId xmlns:a16="http://schemas.microsoft.com/office/drawing/2014/main" id="{12B2E737-0746-7447-32A6-4E515169BFD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71647" y="1928140"/>
            <a:ext cx="1425915" cy="1940310"/>
          </a:xfrm>
          <a:prstGeom prst="rect">
            <a:avLst/>
          </a:prstGeom>
          <a:ln>
            <a:solidFill>
              <a:schemeClr val="tx1"/>
            </a:solidFill>
          </a:ln>
        </p:spPr>
      </p:pic>
      <p:pic>
        <p:nvPicPr>
          <p:cNvPr id="9" name="Billede 8">
            <a:extLst>
              <a:ext uri="{FF2B5EF4-FFF2-40B4-BE49-F238E27FC236}">
                <a16:creationId xmlns:a16="http://schemas.microsoft.com/office/drawing/2014/main" id="{E0DC0D67-A59F-E210-68FB-9D02A85C99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671648" y="87164"/>
            <a:ext cx="1425915" cy="1940311"/>
          </a:xfrm>
          <a:prstGeom prst="rect">
            <a:avLst/>
          </a:prstGeom>
          <a:ln>
            <a:solidFill>
              <a:schemeClr val="tx1"/>
            </a:solidFill>
          </a:ln>
        </p:spPr>
      </p:pic>
      <p:sp>
        <p:nvSpPr>
          <p:cNvPr id="20" name="Rektangel: afrundede hjørner 19">
            <a:extLst>
              <a:ext uri="{FF2B5EF4-FFF2-40B4-BE49-F238E27FC236}">
                <a16:creationId xmlns:a16="http://schemas.microsoft.com/office/drawing/2014/main" id="{08E2E799-4E8E-1108-3F42-54294176C5EB}"/>
              </a:ext>
            </a:extLst>
          </p:cNvPr>
          <p:cNvSpPr/>
          <p:nvPr/>
        </p:nvSpPr>
        <p:spPr>
          <a:xfrm>
            <a:off x="6177775"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a:solidFill>
                  <a:schemeClr val="tx2"/>
                </a:solidFill>
              </a:rPr>
              <a:t>Øget varetilgængeligheden</a:t>
            </a:r>
            <a:endParaRPr lang="da-DK" sz="1400" b="1" dirty="0">
              <a:solidFill>
                <a:schemeClr val="tx2"/>
              </a:solidFill>
            </a:endParaRPr>
          </a:p>
        </p:txBody>
      </p:sp>
      <p:sp>
        <p:nvSpPr>
          <p:cNvPr id="21" name="Rektangel: afrundede hjørner 20">
            <a:extLst>
              <a:ext uri="{FF2B5EF4-FFF2-40B4-BE49-F238E27FC236}">
                <a16:creationId xmlns:a16="http://schemas.microsoft.com/office/drawing/2014/main" id="{8C213E10-41A6-7028-8E65-AAFF56F0FE32}"/>
              </a:ext>
            </a:extLst>
          </p:cNvPr>
          <p:cNvSpPr/>
          <p:nvPr/>
        </p:nvSpPr>
        <p:spPr>
          <a:xfrm>
            <a:off x="9203473" y="5807742"/>
            <a:ext cx="2888166" cy="713678"/>
          </a:xfrm>
          <a:prstGeom prst="roundRect">
            <a:avLst/>
          </a:prstGeom>
          <a:solidFill>
            <a:schemeClr val="bg1">
              <a:alpha val="93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solidFill>
                  <a:schemeClr val="tx2"/>
                </a:solidFill>
              </a:rPr>
              <a:t>Omsætningsvækst</a:t>
            </a:r>
          </a:p>
        </p:txBody>
      </p:sp>
      <p:sp>
        <p:nvSpPr>
          <p:cNvPr id="22" name="Ellipse 21">
            <a:extLst>
              <a:ext uri="{FF2B5EF4-FFF2-40B4-BE49-F238E27FC236}">
                <a16:creationId xmlns:a16="http://schemas.microsoft.com/office/drawing/2014/main" id="{44EBFADE-F73D-ADFD-BE19-3B3C02F03FF3}"/>
              </a:ext>
            </a:extLst>
          </p:cNvPr>
          <p:cNvSpPr/>
          <p:nvPr/>
        </p:nvSpPr>
        <p:spPr>
          <a:xfrm>
            <a:off x="1185746" y="5229921"/>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Ellipse 22">
            <a:extLst>
              <a:ext uri="{FF2B5EF4-FFF2-40B4-BE49-F238E27FC236}">
                <a16:creationId xmlns:a16="http://schemas.microsoft.com/office/drawing/2014/main" id="{6526A566-A74E-ADCB-9EFE-0BF2715F4611}"/>
              </a:ext>
            </a:extLst>
          </p:cNvPr>
          <p:cNvSpPr/>
          <p:nvPr/>
        </p:nvSpPr>
        <p:spPr>
          <a:xfrm>
            <a:off x="4211444" y="5229920"/>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Ellipse 23">
            <a:extLst>
              <a:ext uri="{FF2B5EF4-FFF2-40B4-BE49-F238E27FC236}">
                <a16:creationId xmlns:a16="http://schemas.microsoft.com/office/drawing/2014/main" id="{950AE7A7-C878-E69E-14B7-574430F5346D}"/>
              </a:ext>
            </a:extLst>
          </p:cNvPr>
          <p:cNvSpPr/>
          <p:nvPr/>
        </p:nvSpPr>
        <p:spPr>
          <a:xfrm>
            <a:off x="7263160" y="5227876"/>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Ellipse 24">
            <a:extLst>
              <a:ext uri="{FF2B5EF4-FFF2-40B4-BE49-F238E27FC236}">
                <a16:creationId xmlns:a16="http://schemas.microsoft.com/office/drawing/2014/main" id="{5A156526-A241-28A6-0667-305E9A3B0B67}"/>
              </a:ext>
            </a:extLst>
          </p:cNvPr>
          <p:cNvSpPr/>
          <p:nvPr/>
        </p:nvSpPr>
        <p:spPr>
          <a:xfrm>
            <a:off x="10285141" y="5230943"/>
            <a:ext cx="717396" cy="71367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7" name="Grafik 26" descr="Indkøbsvogn kontur">
            <a:extLst>
              <a:ext uri="{FF2B5EF4-FFF2-40B4-BE49-F238E27FC236}">
                <a16:creationId xmlns:a16="http://schemas.microsoft.com/office/drawing/2014/main" id="{99C9E285-8628-2109-8D37-2F80233D605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402209" y="5372296"/>
            <a:ext cx="435446" cy="435446"/>
          </a:xfrm>
          <a:prstGeom prst="rect">
            <a:avLst/>
          </a:prstGeom>
        </p:spPr>
      </p:pic>
      <p:pic>
        <p:nvPicPr>
          <p:cNvPr id="31" name="Grafik 30" descr="Butik kontur">
            <a:extLst>
              <a:ext uri="{FF2B5EF4-FFF2-40B4-BE49-F238E27FC236}">
                <a16:creationId xmlns:a16="http://schemas.microsoft.com/office/drawing/2014/main" id="{024DAB1F-DFC2-43C7-1B40-148A8ED03FE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318739" y="5361144"/>
            <a:ext cx="435446" cy="435446"/>
          </a:xfrm>
          <a:prstGeom prst="rect">
            <a:avLst/>
          </a:prstGeom>
        </p:spPr>
      </p:pic>
      <p:pic>
        <p:nvPicPr>
          <p:cNvPr id="33" name="Grafik 32" descr="3-stjernet bedømmelse med massiv udfyldning">
            <a:extLst>
              <a:ext uri="{FF2B5EF4-FFF2-40B4-BE49-F238E27FC236}">
                <a16:creationId xmlns:a16="http://schemas.microsoft.com/office/drawing/2014/main" id="{123786DD-1D1E-114F-7AC3-5E37061BF09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356302" y="5340591"/>
            <a:ext cx="435446" cy="435446"/>
          </a:xfrm>
          <a:prstGeom prst="rect">
            <a:avLst/>
          </a:prstGeom>
        </p:spPr>
      </p:pic>
      <p:pic>
        <p:nvPicPr>
          <p:cNvPr id="35" name="Grafik 34" descr="Søjlediagram med opadgående tendens kontur">
            <a:extLst>
              <a:ext uri="{FF2B5EF4-FFF2-40B4-BE49-F238E27FC236}">
                <a16:creationId xmlns:a16="http://schemas.microsoft.com/office/drawing/2014/main" id="{4F3DB04F-2D01-F7FE-542C-9B2D77BD4BB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423388" y="5372296"/>
            <a:ext cx="435446" cy="435446"/>
          </a:xfrm>
          <a:prstGeom prst="rect">
            <a:avLst/>
          </a:prstGeom>
        </p:spPr>
      </p:pic>
    </p:spTree>
    <p:extLst>
      <p:ext uri="{BB962C8B-B14F-4D97-AF65-F5344CB8AC3E}">
        <p14:creationId xmlns:p14="http://schemas.microsoft.com/office/powerpoint/2010/main" val="93152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2" descr="A picture containing text, person&#10;&#10;Description automatically generated">
            <a:extLst>
              <a:ext uri="{FF2B5EF4-FFF2-40B4-BE49-F238E27FC236}">
                <a16:creationId xmlns:a16="http://schemas.microsoft.com/office/drawing/2014/main" id="{1AFE8F80-4149-A839-626F-0AB7836F040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12192792" cy="6858000"/>
          </a:xfrm>
          <a:prstGeom prst="rect">
            <a:avLst/>
          </a:prstGeom>
        </p:spPr>
      </p:pic>
      <p:sp>
        <p:nvSpPr>
          <p:cNvPr id="2" name="GradientOverlay">
            <a:extLst>
              <a:ext uri="{FF2B5EF4-FFF2-40B4-BE49-F238E27FC236}">
                <a16:creationId xmlns:a16="http://schemas.microsoft.com/office/drawing/2014/main" id="{ECCFA05E-392C-EFB2-2357-3ECC5E7CE87B}"/>
              </a:ext>
            </a:extLst>
          </p:cNvPr>
          <p:cNvSpPr/>
          <p:nvPr>
            <p:custDataLst>
              <p:tags r:id="rId1"/>
            </p:custDataLst>
          </p:nvPr>
        </p:nvSpPr>
        <p:spPr>
          <a:xfrm>
            <a:off x="0" y="0"/>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Medarbejdere</a:t>
            </a:r>
            <a:r>
              <a:rPr lang="da-DK" sz="2400" b="0" dirty="0">
                <a:solidFill>
                  <a:schemeClr val="tx2"/>
                </a:solidFill>
              </a:rPr>
              <a:t>| Status på vores mennesker</a:t>
            </a:r>
          </a:p>
        </p:txBody>
      </p:sp>
      <p:sp>
        <p:nvSpPr>
          <p:cNvPr id="15" name="Rektangel: afrundede hjørner 14">
            <a:extLst>
              <a:ext uri="{FF2B5EF4-FFF2-40B4-BE49-F238E27FC236}">
                <a16:creationId xmlns:a16="http://schemas.microsoft.com/office/drawing/2014/main" id="{35C4390A-1EE5-89A7-143F-87158D6B1CDB}"/>
              </a:ext>
            </a:extLst>
          </p:cNvPr>
          <p:cNvSpPr/>
          <p:nvPr/>
        </p:nvSpPr>
        <p:spPr>
          <a:xfrm>
            <a:off x="469900"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2023 vs. 2022</a:t>
            </a:r>
          </a:p>
          <a:p>
            <a:pPr algn="ctr"/>
            <a:endParaRPr lang="da-DK" sz="1400" dirty="0"/>
          </a:p>
          <a:p>
            <a:pPr algn="ctr"/>
            <a:r>
              <a:rPr lang="da-DK" sz="1400" dirty="0"/>
              <a:t>Reducering af:</a:t>
            </a:r>
          </a:p>
          <a:p>
            <a:pPr algn="ctr"/>
            <a:r>
              <a:rPr lang="da-DK" sz="1400" dirty="0"/>
              <a:t>Sygefravær </a:t>
            </a:r>
          </a:p>
          <a:p>
            <a:pPr algn="ctr"/>
            <a:r>
              <a:rPr lang="da-DK" sz="1400" dirty="0"/>
              <a:t>og personaleomsætning</a:t>
            </a:r>
          </a:p>
          <a:p>
            <a:pPr algn="ctr"/>
            <a:endParaRPr lang="da-DK" sz="1400" dirty="0"/>
          </a:p>
          <a:p>
            <a:pPr algn="ctr"/>
            <a:endParaRPr lang="da-DK" sz="1400" dirty="0"/>
          </a:p>
        </p:txBody>
      </p:sp>
      <p:sp>
        <p:nvSpPr>
          <p:cNvPr id="16" name="Rektangel: afrundede hjørner 15">
            <a:extLst>
              <a:ext uri="{FF2B5EF4-FFF2-40B4-BE49-F238E27FC236}">
                <a16:creationId xmlns:a16="http://schemas.microsoft.com/office/drawing/2014/main" id="{6E62C620-B173-D61F-FB28-AD1C4960828C}"/>
              </a:ext>
            </a:extLst>
          </p:cNvPr>
          <p:cNvSpPr/>
          <p:nvPr/>
        </p:nvSpPr>
        <p:spPr>
          <a:xfrm>
            <a:off x="9200299"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HR plan 2024 </a:t>
            </a:r>
          </a:p>
          <a:p>
            <a:pPr algn="ctr"/>
            <a:endParaRPr lang="da-DK" sz="1400" dirty="0"/>
          </a:p>
          <a:p>
            <a:pPr algn="ctr"/>
            <a:r>
              <a:rPr lang="da-DK" sz="1400" dirty="0"/>
              <a:t>Udarbejdet med konkrete initiativer med målet at gøre det endnu nemmere at lykkes som leder i kædens butikker</a:t>
            </a:r>
          </a:p>
        </p:txBody>
      </p:sp>
      <p:sp>
        <p:nvSpPr>
          <p:cNvPr id="17" name="Rektangel: afrundede hjørner 16">
            <a:extLst>
              <a:ext uri="{FF2B5EF4-FFF2-40B4-BE49-F238E27FC236}">
                <a16:creationId xmlns:a16="http://schemas.microsoft.com/office/drawing/2014/main" id="{382EDE00-B297-AB9B-B7AB-BA1FFC224138}"/>
              </a:ext>
            </a:extLst>
          </p:cNvPr>
          <p:cNvSpPr/>
          <p:nvPr/>
        </p:nvSpPr>
        <p:spPr>
          <a:xfrm>
            <a:off x="3461601" y="2564731"/>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98%</a:t>
            </a:r>
          </a:p>
          <a:p>
            <a:pPr algn="ctr"/>
            <a:endParaRPr lang="da-DK" sz="1400" b="1" dirty="0"/>
          </a:p>
          <a:p>
            <a:pPr algn="ctr"/>
            <a:r>
              <a:rPr lang="da-DK" sz="1400" dirty="0"/>
              <a:t>Af vores uddeler- og varehuschef stillinger besættes med interne kandidater</a:t>
            </a:r>
          </a:p>
          <a:p>
            <a:pPr algn="ctr"/>
            <a:endParaRPr lang="da-DK" sz="1400" dirty="0"/>
          </a:p>
          <a:p>
            <a:pPr algn="ctr"/>
            <a:endParaRPr lang="da-DK" sz="1400" dirty="0"/>
          </a:p>
        </p:txBody>
      </p:sp>
      <p:sp>
        <p:nvSpPr>
          <p:cNvPr id="18" name="Rektangel: afrundede hjørner 17">
            <a:extLst>
              <a:ext uri="{FF2B5EF4-FFF2-40B4-BE49-F238E27FC236}">
                <a16:creationId xmlns:a16="http://schemas.microsoft.com/office/drawing/2014/main" id="{85846340-2819-CF30-1C20-5046DD51F055}"/>
              </a:ext>
            </a:extLst>
          </p:cNvPr>
          <p:cNvSpPr/>
          <p:nvPr/>
        </p:nvSpPr>
        <p:spPr>
          <a:xfrm>
            <a:off x="6330950" y="2552699"/>
            <a:ext cx="2521801" cy="40132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b="1" dirty="0"/>
              <a:t>2 ekstra talentforløb</a:t>
            </a:r>
          </a:p>
          <a:p>
            <a:pPr algn="ctr"/>
            <a:endParaRPr lang="da-DK" sz="1400" b="1" dirty="0"/>
          </a:p>
          <a:p>
            <a:pPr algn="ctr"/>
            <a:r>
              <a:rPr lang="da-DK" sz="1400" dirty="0"/>
              <a:t>Planlagt for at imødekomme interesse og behov for pipeline til lederstillinger</a:t>
            </a:r>
          </a:p>
          <a:p>
            <a:pPr algn="ctr"/>
            <a:endParaRPr lang="da-DK" sz="1400" dirty="0"/>
          </a:p>
        </p:txBody>
      </p:sp>
      <p:sp>
        <p:nvSpPr>
          <p:cNvPr id="19" name="Ellipse 18">
            <a:extLst>
              <a:ext uri="{FF2B5EF4-FFF2-40B4-BE49-F238E27FC236}">
                <a16:creationId xmlns:a16="http://schemas.microsoft.com/office/drawing/2014/main" id="{F930E080-1BD9-8E80-F366-D838FF499BFC}"/>
              </a:ext>
            </a:extLst>
          </p:cNvPr>
          <p:cNvSpPr/>
          <p:nvPr/>
        </p:nvSpPr>
        <p:spPr>
          <a:xfrm>
            <a:off x="1019600"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Ellipse 19">
            <a:extLst>
              <a:ext uri="{FF2B5EF4-FFF2-40B4-BE49-F238E27FC236}">
                <a16:creationId xmlns:a16="http://schemas.microsoft.com/office/drawing/2014/main" id="{474657DA-9AC5-84ED-E2FD-62ADCC6A07F9}"/>
              </a:ext>
            </a:extLst>
          </p:cNvPr>
          <p:cNvSpPr/>
          <p:nvPr/>
        </p:nvSpPr>
        <p:spPr>
          <a:xfrm>
            <a:off x="4011301"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Ellipse 20">
            <a:extLst>
              <a:ext uri="{FF2B5EF4-FFF2-40B4-BE49-F238E27FC236}">
                <a16:creationId xmlns:a16="http://schemas.microsoft.com/office/drawing/2014/main" id="{F74AE9FC-3A85-F0AC-B4FE-6AC68B4985C1}"/>
              </a:ext>
            </a:extLst>
          </p:cNvPr>
          <p:cNvSpPr/>
          <p:nvPr/>
        </p:nvSpPr>
        <p:spPr>
          <a:xfrm>
            <a:off x="6880650"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Ellipse 21">
            <a:extLst>
              <a:ext uri="{FF2B5EF4-FFF2-40B4-BE49-F238E27FC236}">
                <a16:creationId xmlns:a16="http://schemas.microsoft.com/office/drawing/2014/main" id="{1AE22272-A909-6227-3A94-FD7925BF1307}"/>
              </a:ext>
            </a:extLst>
          </p:cNvPr>
          <p:cNvSpPr/>
          <p:nvPr/>
        </p:nvSpPr>
        <p:spPr>
          <a:xfrm>
            <a:off x="9808804" y="1412927"/>
            <a:ext cx="1422400" cy="14097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4" name="Grafik 13" descr="Nedadgående trendkurve med massiv udfyldning">
            <a:extLst>
              <a:ext uri="{FF2B5EF4-FFF2-40B4-BE49-F238E27FC236}">
                <a16:creationId xmlns:a16="http://schemas.microsoft.com/office/drawing/2014/main" id="{DD030F68-8D77-89B6-9DE8-856753913E5A}"/>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73600" y="1658313"/>
            <a:ext cx="914400" cy="914400"/>
          </a:xfrm>
          <a:prstGeom prst="rect">
            <a:avLst/>
          </a:prstGeom>
        </p:spPr>
      </p:pic>
      <p:pic>
        <p:nvPicPr>
          <p:cNvPr id="12" name="Grafik 11" descr="Ledelse kontur">
            <a:extLst>
              <a:ext uri="{FF2B5EF4-FFF2-40B4-BE49-F238E27FC236}">
                <a16:creationId xmlns:a16="http://schemas.microsoft.com/office/drawing/2014/main" id="{C5924802-B730-8112-1CB9-ACC4443C1900}"/>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65301" y="1638298"/>
            <a:ext cx="914400" cy="914400"/>
          </a:xfrm>
          <a:prstGeom prst="rect">
            <a:avLst/>
          </a:prstGeom>
        </p:spPr>
      </p:pic>
      <p:pic>
        <p:nvPicPr>
          <p:cNvPr id="9" name="Grafik 8" descr="Forretningsudvikling kontur">
            <a:extLst>
              <a:ext uri="{FF2B5EF4-FFF2-40B4-BE49-F238E27FC236}">
                <a16:creationId xmlns:a16="http://schemas.microsoft.com/office/drawing/2014/main" id="{422E147E-012B-BD0C-0B5C-AFE275D93E44}"/>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206301" y="1638298"/>
            <a:ext cx="914400" cy="914400"/>
          </a:xfrm>
          <a:prstGeom prst="rect">
            <a:avLst/>
          </a:prstGeom>
        </p:spPr>
      </p:pic>
      <p:pic>
        <p:nvPicPr>
          <p:cNvPr id="5" name="Grafik 4" descr="Ambition kontur">
            <a:extLst>
              <a:ext uri="{FF2B5EF4-FFF2-40B4-BE49-F238E27FC236}">
                <a16:creationId xmlns:a16="http://schemas.microsoft.com/office/drawing/2014/main" id="{9439902C-267E-8219-BDFA-A0FDBB1334C7}"/>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062804" y="1638298"/>
            <a:ext cx="914400" cy="914400"/>
          </a:xfrm>
          <a:prstGeom prst="rect">
            <a:avLst/>
          </a:prstGeom>
        </p:spPr>
      </p:pic>
    </p:spTree>
    <p:extLst>
      <p:ext uri="{BB962C8B-B14F-4D97-AF65-F5344CB8AC3E}">
        <p14:creationId xmlns:p14="http://schemas.microsoft.com/office/powerpoint/2010/main" val="2138356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Undertitel 2">
            <a:extLst>
              <a:ext uri="{FF2B5EF4-FFF2-40B4-BE49-F238E27FC236}">
                <a16:creationId xmlns:a16="http://schemas.microsoft.com/office/drawing/2014/main" id="{191F2CFC-CD2E-41A0-A0FF-E712F892FB2B}"/>
              </a:ext>
            </a:extLst>
          </p:cNvPr>
          <p:cNvSpPr txBox="1">
            <a:spLocks/>
          </p:cNvSpPr>
          <p:nvPr/>
        </p:nvSpPr>
        <p:spPr>
          <a:xfrm>
            <a:off x="695325" y="4067444"/>
            <a:ext cx="8064500" cy="1655762"/>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ts val="600"/>
              </a:spcBef>
              <a:spcAft>
                <a:spcPts val="300"/>
              </a:spcAft>
              <a:buClrTx/>
              <a:buSzTx/>
              <a:buFont typeface="Arial" panose="020B0604020202020204" pitchFamily="34" charset="0"/>
              <a:buChar char="​"/>
              <a:tabLst/>
              <a:defRPr/>
            </a:pPr>
            <a:endParaRPr kumimoji="0" lang="da-DK" sz="1400" b="1" i="0" u="none" strike="noStrike" kern="1200" cap="none" spc="0" normalizeH="0" baseline="0" noProof="0" dirty="0">
              <a:ln>
                <a:noFill/>
              </a:ln>
              <a:solidFill>
                <a:prstClr val="white"/>
              </a:solidFill>
              <a:effectLst/>
              <a:uLnTx/>
              <a:uFillTx/>
              <a:latin typeface="COOP"/>
              <a:ea typeface="+mn-ea"/>
              <a:cs typeface="+mn-cs"/>
              <a:sym typeface="Trebuchet MS" panose="020B0603020202020204" pitchFamily="34" charset="0"/>
            </a:endParaRPr>
          </a:p>
        </p:txBody>
      </p:sp>
      <p:sp>
        <p:nvSpPr>
          <p:cNvPr id="2" name="Titel 1">
            <a:extLst>
              <a:ext uri="{FF2B5EF4-FFF2-40B4-BE49-F238E27FC236}">
                <a16:creationId xmlns:a16="http://schemas.microsoft.com/office/drawing/2014/main" id="{15F792F9-995A-D178-96B6-3321FAD09FDD}"/>
              </a:ext>
            </a:extLst>
          </p:cNvPr>
          <p:cNvSpPr txBox="1">
            <a:spLocks/>
          </p:cNvSpPr>
          <p:nvPr/>
        </p:nvSpPr>
        <p:spPr>
          <a:xfrm>
            <a:off x="3077117" y="4956927"/>
            <a:ext cx="8987465" cy="1046308"/>
          </a:xfrm>
          <a:prstGeom prst="rect">
            <a:avLst/>
          </a:prstGeom>
        </p:spPr>
        <p:txBody>
          <a:bodyPr anchor="b"/>
          <a:lst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a:lstStyle>
          <a:p>
            <a:pPr>
              <a:defRPr sz="2800">
                <a:latin typeface="Olsen-Bold"/>
                <a:ea typeface="Olsen-Bold"/>
                <a:cs typeface="Olsen-Bold"/>
                <a:sym typeface="Olsen-Bold"/>
              </a:defRPr>
            </a:pPr>
            <a:endParaRPr lang="en-GB" sz="2000" b="1" dirty="0">
              <a:solidFill>
                <a:srgbClr val="FFFFFF"/>
              </a:solidFill>
              <a:ea typeface="Olsen-Bold"/>
              <a:cs typeface="Olsen-Bold"/>
              <a:sym typeface="COOP" panose="02010504010101010104" pitchFamily="2" charset="0"/>
            </a:endParaRPr>
          </a:p>
          <a:p>
            <a:pPr>
              <a:defRPr sz="2800">
                <a:latin typeface="Olsen-Bold"/>
                <a:ea typeface="Olsen-Bold"/>
                <a:cs typeface="Olsen-Bold"/>
                <a:sym typeface="Olsen-Bold"/>
              </a:defRPr>
            </a:pPr>
            <a:r>
              <a:rPr lang="en-GB" sz="2000" dirty="0">
                <a:solidFill>
                  <a:srgbClr val="FFFFFF"/>
                </a:solidFill>
                <a:ea typeface="Olsen-Bold"/>
                <a:cs typeface="Olsen-Bold"/>
                <a:sym typeface="COOP" panose="02010504010101010104" pitchFamily="2" charset="0"/>
              </a:rPr>
              <a:t>‘Det </a:t>
            </a:r>
            <a:r>
              <a:rPr lang="en-GB" sz="2000" dirty="0" err="1">
                <a:solidFill>
                  <a:srgbClr val="FFFFFF"/>
                </a:solidFill>
                <a:ea typeface="Olsen-Bold"/>
                <a:cs typeface="Olsen-Bold"/>
                <a:sym typeface="COOP" panose="02010504010101010104" pitchFamily="2" charset="0"/>
              </a:rPr>
              <a:t>skal</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være</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billigere</a:t>
            </a:r>
            <a:r>
              <a:rPr lang="en-GB" sz="2000" dirty="0">
                <a:solidFill>
                  <a:srgbClr val="FFFFFF"/>
                </a:solidFill>
                <a:ea typeface="Olsen-Bold"/>
                <a:cs typeface="Olsen-Bold"/>
                <a:sym typeface="COOP" panose="02010504010101010104" pitchFamily="2" charset="0"/>
              </a:rPr>
              <a:t> at handle </a:t>
            </a:r>
            <a:r>
              <a:rPr lang="en-GB" sz="2000" dirty="0" err="1">
                <a:solidFill>
                  <a:srgbClr val="FFFFFF"/>
                </a:solidFill>
                <a:ea typeface="Olsen-Bold"/>
                <a:cs typeface="Olsen-Bold"/>
                <a:sym typeface="COOP" panose="02010504010101010104" pitchFamily="2" charset="0"/>
              </a:rPr>
              <a:t>dagligvarer</a:t>
            </a:r>
            <a:r>
              <a:rPr lang="en-GB" sz="2000" dirty="0">
                <a:solidFill>
                  <a:srgbClr val="FFFFFF"/>
                </a:solidFill>
                <a:ea typeface="Olsen-Bold"/>
                <a:cs typeface="Olsen-Bold"/>
                <a:sym typeface="COOP" panose="02010504010101010104" pitchFamily="2" charset="0"/>
              </a:rPr>
              <a:t>’ </a:t>
            </a:r>
          </a:p>
          <a:p>
            <a:pPr>
              <a:defRPr sz="2800">
                <a:latin typeface="Olsen-Bold"/>
                <a:ea typeface="Olsen-Bold"/>
                <a:cs typeface="Olsen-Bold"/>
                <a:sym typeface="Olsen-Bold"/>
              </a:defRPr>
            </a:pPr>
            <a:endParaRPr lang="en-GB" sz="2000" dirty="0">
              <a:solidFill>
                <a:srgbClr val="FFFFFF"/>
              </a:solidFill>
              <a:ea typeface="Olsen-Bold"/>
              <a:cs typeface="Olsen-Bold"/>
              <a:sym typeface="COOP" panose="02010504010101010104" pitchFamily="2" charset="0"/>
            </a:endParaRPr>
          </a:p>
          <a:p>
            <a:pPr>
              <a:defRPr sz="2800">
                <a:latin typeface="Olsen-Bold"/>
                <a:ea typeface="Olsen-Bold"/>
                <a:cs typeface="Olsen-Bold"/>
                <a:sym typeface="Olsen-Bold"/>
              </a:defRPr>
            </a:pPr>
            <a:r>
              <a:rPr lang="en-GB" sz="2000" dirty="0" err="1">
                <a:solidFill>
                  <a:srgbClr val="FFFFFF"/>
                </a:solidFill>
                <a:ea typeface="Olsen-Bold"/>
                <a:cs typeface="Olsen-Bold"/>
                <a:sym typeface="COOP" panose="02010504010101010104" pitchFamily="2" charset="0"/>
              </a:rPr>
              <a:t>Derfor</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sænker</a:t>
            </a:r>
            <a:r>
              <a:rPr lang="en-GB" sz="2000" dirty="0">
                <a:solidFill>
                  <a:srgbClr val="FFFFFF"/>
                </a:solidFill>
                <a:ea typeface="Olsen-Bold"/>
                <a:cs typeface="Olsen-Bold"/>
                <a:sym typeface="COOP" panose="02010504010101010104" pitchFamily="2" charset="0"/>
              </a:rPr>
              <a:t> Coop </a:t>
            </a:r>
            <a:r>
              <a:rPr lang="en-GB" sz="2000" dirty="0" err="1">
                <a:solidFill>
                  <a:srgbClr val="FFFFFF"/>
                </a:solidFill>
                <a:ea typeface="Olsen-Bold"/>
                <a:cs typeface="Olsen-Bold"/>
                <a:sym typeface="COOP" panose="02010504010101010104" pitchFamily="2" charset="0"/>
              </a:rPr>
              <a:t>priserne</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på</a:t>
            </a:r>
            <a:r>
              <a:rPr lang="en-GB" sz="2000" dirty="0">
                <a:solidFill>
                  <a:srgbClr val="FFFFFF"/>
                </a:solidFill>
                <a:ea typeface="Olsen-Bold"/>
                <a:cs typeface="Olsen-Bold"/>
                <a:sym typeface="COOP" panose="02010504010101010104" pitchFamily="2" charset="0"/>
              </a:rPr>
              <a:t> 500 </a:t>
            </a:r>
            <a:r>
              <a:rPr lang="en-GB" sz="2000" dirty="0" err="1">
                <a:solidFill>
                  <a:srgbClr val="FFFFFF"/>
                </a:solidFill>
                <a:ea typeface="Olsen-Bold"/>
                <a:cs typeface="Olsen-Bold"/>
                <a:sym typeface="COOP" panose="02010504010101010104" pitchFamily="2" charset="0"/>
              </a:rPr>
              <a:t>hverdagsvarer</a:t>
            </a:r>
            <a:r>
              <a:rPr lang="en-GB" sz="2000" dirty="0">
                <a:solidFill>
                  <a:srgbClr val="FFFFFF"/>
                </a:solidFill>
                <a:ea typeface="Olsen-Bold"/>
                <a:cs typeface="Olsen-Bold"/>
                <a:sym typeface="COOP" panose="02010504010101010104" pitchFamily="2" charset="0"/>
              </a:rPr>
              <a:t> </a:t>
            </a:r>
            <a:r>
              <a:rPr lang="en-GB" sz="2000" dirty="0" err="1">
                <a:solidFill>
                  <a:srgbClr val="FFFFFF"/>
                </a:solidFill>
                <a:ea typeface="Olsen-Bold"/>
                <a:cs typeface="Olsen-Bold"/>
                <a:sym typeface="COOP" panose="02010504010101010104" pitchFamily="2" charset="0"/>
              </a:rPr>
              <a:t>i</a:t>
            </a:r>
            <a:r>
              <a:rPr lang="en-GB" sz="2000" dirty="0">
                <a:solidFill>
                  <a:srgbClr val="FFFFFF"/>
                </a:solidFill>
                <a:ea typeface="Olsen-Bold"/>
                <a:cs typeface="Olsen-Bold"/>
                <a:sym typeface="COOP" panose="02010504010101010104" pitchFamily="2" charset="0"/>
              </a:rPr>
              <a:t> </a:t>
            </a:r>
            <a:r>
              <a:rPr lang="en-GB" sz="2000" b="1" dirty="0" err="1">
                <a:solidFill>
                  <a:srgbClr val="FFFFFF"/>
                </a:solidFill>
                <a:ea typeface="Olsen-Bold"/>
                <a:cs typeface="Olsen-Bold"/>
                <a:sym typeface="COOP" panose="02010504010101010104" pitchFamily="2" charset="0"/>
              </a:rPr>
              <a:t>Kvickly</a:t>
            </a:r>
            <a:r>
              <a:rPr lang="en-GB" sz="2000" b="1" dirty="0">
                <a:solidFill>
                  <a:srgbClr val="FFFFFF"/>
                </a:solidFill>
                <a:ea typeface="Olsen-Bold"/>
                <a:cs typeface="Olsen-Bold"/>
                <a:sym typeface="COOP" panose="02010504010101010104" pitchFamily="2" charset="0"/>
              </a:rPr>
              <a:t> </a:t>
            </a:r>
            <a:r>
              <a:rPr lang="en-GB" sz="2000" b="1" dirty="0" err="1">
                <a:solidFill>
                  <a:srgbClr val="FFFFFF"/>
                </a:solidFill>
                <a:ea typeface="Olsen-Bold"/>
                <a:cs typeface="Olsen-Bold"/>
                <a:sym typeface="COOP" panose="02010504010101010104" pitchFamily="2" charset="0"/>
              </a:rPr>
              <a:t>og</a:t>
            </a:r>
            <a:r>
              <a:rPr lang="en-GB" sz="2000" b="1" dirty="0">
                <a:solidFill>
                  <a:srgbClr val="FFFFFF"/>
                </a:solidFill>
                <a:ea typeface="Olsen-Bold"/>
                <a:cs typeface="Olsen-Bold"/>
                <a:sym typeface="COOP" panose="02010504010101010104" pitchFamily="2" charset="0"/>
              </a:rPr>
              <a:t> SuperBrugsen</a:t>
            </a:r>
            <a:endParaRPr lang="en-GB" sz="3600" b="1" dirty="0">
              <a:solidFill>
                <a:srgbClr val="FFFFFF"/>
              </a:solidFill>
              <a:ea typeface="Olsen-Bold"/>
              <a:cs typeface="Olsen-Bold"/>
              <a:sym typeface="COOP" panose="02010504010101010104" pitchFamily="2" charset="0"/>
            </a:endParaRPr>
          </a:p>
        </p:txBody>
      </p:sp>
      <p:pic>
        <p:nvPicPr>
          <p:cNvPr id="3" name="Billede 2">
            <a:extLst>
              <a:ext uri="{FF2B5EF4-FFF2-40B4-BE49-F238E27FC236}">
                <a16:creationId xmlns:a16="http://schemas.microsoft.com/office/drawing/2014/main" id="{78360FC1-0EFF-EA4D-C3B1-E4761BF37DC6}"/>
              </a:ext>
            </a:extLst>
          </p:cNvPr>
          <p:cNvPicPr>
            <a:picLocks noChangeAspect="1"/>
          </p:cNvPicPr>
          <p:nvPr/>
        </p:nvPicPr>
        <p:blipFill>
          <a:blip r:embed="rId3">
            <a:alphaModFix/>
          </a:blip>
          <a:stretch>
            <a:fillRect/>
          </a:stretch>
        </p:blipFill>
        <p:spPr>
          <a:xfrm>
            <a:off x="0" y="-1"/>
            <a:ext cx="12192000" cy="4949687"/>
          </a:xfrm>
          <a:prstGeom prst="rect">
            <a:avLst/>
          </a:prstGeom>
        </p:spPr>
      </p:pic>
      <p:sp>
        <p:nvSpPr>
          <p:cNvPr id="5" name="Title 1">
            <a:extLst>
              <a:ext uri="{FF2B5EF4-FFF2-40B4-BE49-F238E27FC236}">
                <a16:creationId xmlns:a16="http://schemas.microsoft.com/office/drawing/2014/main" id="{13CB6B89-7FA8-B3FF-8430-C7472FF21019}"/>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Discountmatch </a:t>
            </a:r>
            <a:r>
              <a:rPr lang="da-DK" sz="2400" b="0" dirty="0">
                <a:solidFill>
                  <a:schemeClr val="tx2"/>
                </a:solidFill>
              </a:rPr>
              <a:t>| Lancering af prisprogram</a:t>
            </a:r>
          </a:p>
        </p:txBody>
      </p:sp>
    </p:spTree>
    <p:extLst>
      <p:ext uri="{BB962C8B-B14F-4D97-AF65-F5344CB8AC3E}">
        <p14:creationId xmlns:p14="http://schemas.microsoft.com/office/powerpoint/2010/main" val="196910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890A9673-2DE7-7FEC-14C1-95DA322C118A}"/>
              </a:ext>
            </a:extLst>
          </p:cNvPr>
          <p:cNvSpPr/>
          <p:nvPr/>
        </p:nvSpPr>
        <p:spPr>
          <a:xfrm>
            <a:off x="1339506" y="1235968"/>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a:latin typeface="+mj-lt"/>
              </a:rPr>
              <a:t>Spicy offer på forsiden hver uge</a:t>
            </a:r>
            <a:endParaRPr lang="da-DK" sz="1800" dirty="0">
              <a:latin typeface="+mj-lt"/>
            </a:endParaRPr>
          </a:p>
        </p:txBody>
      </p:sp>
      <p:pic>
        <p:nvPicPr>
          <p:cNvPr id="9" name="Billede 8">
            <a:extLst>
              <a:ext uri="{FF2B5EF4-FFF2-40B4-BE49-F238E27FC236}">
                <a16:creationId xmlns:a16="http://schemas.microsoft.com/office/drawing/2014/main" id="{AA9A2842-ED67-D0E4-1322-ADF6A75B2D4A}"/>
              </a:ext>
            </a:extLst>
          </p:cNvPr>
          <p:cNvPicPr>
            <a:picLocks noChangeAspect="1"/>
          </p:cNvPicPr>
          <p:nvPr/>
        </p:nvPicPr>
        <p:blipFill>
          <a:blip r:embed="rId3"/>
          <a:stretch>
            <a:fillRect/>
          </a:stretch>
        </p:blipFill>
        <p:spPr>
          <a:xfrm>
            <a:off x="7835900" y="147342"/>
            <a:ext cx="4210395" cy="5449275"/>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Aviser </a:t>
            </a:r>
            <a:r>
              <a:rPr lang="da-DK" sz="2400" b="0" dirty="0">
                <a:solidFill>
                  <a:schemeClr val="tx2"/>
                </a:solidFill>
              </a:rPr>
              <a:t>| Styrkelse af vores avis tilbud </a:t>
            </a:r>
          </a:p>
        </p:txBody>
      </p:sp>
      <p:sp>
        <p:nvSpPr>
          <p:cNvPr id="11" name="Ellipse 10">
            <a:extLst>
              <a:ext uri="{FF2B5EF4-FFF2-40B4-BE49-F238E27FC236}">
                <a16:creationId xmlns:a16="http://schemas.microsoft.com/office/drawing/2014/main" id="{46A792D1-7CBC-994C-6781-CE5B83BF0D0A}"/>
              </a:ext>
            </a:extLst>
          </p:cNvPr>
          <p:cNvSpPr/>
          <p:nvPr/>
        </p:nvSpPr>
        <p:spPr>
          <a:xfrm>
            <a:off x="469900" y="112433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1</a:t>
            </a:r>
          </a:p>
        </p:txBody>
      </p:sp>
      <p:sp>
        <p:nvSpPr>
          <p:cNvPr id="12" name="Ellipse 11">
            <a:extLst>
              <a:ext uri="{FF2B5EF4-FFF2-40B4-BE49-F238E27FC236}">
                <a16:creationId xmlns:a16="http://schemas.microsoft.com/office/drawing/2014/main" id="{B99B5317-6188-8F5A-887D-FC650997E965}"/>
              </a:ext>
            </a:extLst>
          </p:cNvPr>
          <p:cNvSpPr/>
          <p:nvPr/>
        </p:nvSpPr>
        <p:spPr>
          <a:xfrm>
            <a:off x="469900" y="225105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2</a:t>
            </a:r>
          </a:p>
        </p:txBody>
      </p:sp>
      <p:sp>
        <p:nvSpPr>
          <p:cNvPr id="13" name="Ellipse 12">
            <a:extLst>
              <a:ext uri="{FF2B5EF4-FFF2-40B4-BE49-F238E27FC236}">
                <a16:creationId xmlns:a16="http://schemas.microsoft.com/office/drawing/2014/main" id="{2FC906E1-0963-D907-6C27-CFD796777F9D}"/>
              </a:ext>
            </a:extLst>
          </p:cNvPr>
          <p:cNvSpPr/>
          <p:nvPr/>
        </p:nvSpPr>
        <p:spPr>
          <a:xfrm>
            <a:off x="469900" y="337777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3</a:t>
            </a:r>
          </a:p>
        </p:txBody>
      </p:sp>
      <p:sp>
        <p:nvSpPr>
          <p:cNvPr id="14" name="Ellipse 13">
            <a:extLst>
              <a:ext uri="{FF2B5EF4-FFF2-40B4-BE49-F238E27FC236}">
                <a16:creationId xmlns:a16="http://schemas.microsoft.com/office/drawing/2014/main" id="{1FE13DB9-4897-613D-646E-F24CE41FAC4F}"/>
              </a:ext>
            </a:extLst>
          </p:cNvPr>
          <p:cNvSpPr/>
          <p:nvPr/>
        </p:nvSpPr>
        <p:spPr>
          <a:xfrm>
            <a:off x="469900" y="4504496"/>
            <a:ext cx="901700" cy="853142"/>
          </a:xfrm>
          <a:prstGeom prst="ellipse">
            <a:avLst/>
          </a:prstGeom>
          <a:solidFill>
            <a:schemeClr val="tx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800" b="1" dirty="0">
                <a:solidFill>
                  <a:schemeClr val="bg1"/>
                </a:solidFill>
                <a:latin typeface="+mj-lt"/>
              </a:rPr>
              <a:t>4</a:t>
            </a:r>
          </a:p>
        </p:txBody>
      </p:sp>
      <p:sp>
        <p:nvSpPr>
          <p:cNvPr id="20" name="Rektangel 19">
            <a:extLst>
              <a:ext uri="{FF2B5EF4-FFF2-40B4-BE49-F238E27FC236}">
                <a16:creationId xmlns:a16="http://schemas.microsoft.com/office/drawing/2014/main" id="{DAE4EE86-65BF-5737-4DE8-8EA360D59217}"/>
              </a:ext>
            </a:extLst>
          </p:cNvPr>
          <p:cNvSpPr/>
          <p:nvPr/>
        </p:nvSpPr>
        <p:spPr>
          <a:xfrm>
            <a:off x="1339506" y="236867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Stærk pris på side 2-3</a:t>
            </a:r>
          </a:p>
        </p:txBody>
      </p:sp>
      <p:sp>
        <p:nvSpPr>
          <p:cNvPr id="21" name="Rektangel 20">
            <a:extLst>
              <a:ext uri="{FF2B5EF4-FFF2-40B4-BE49-F238E27FC236}">
                <a16:creationId xmlns:a16="http://schemas.microsoft.com/office/drawing/2014/main" id="{DB5E109E-F9E4-04AE-90F3-7387CA57AB82}"/>
              </a:ext>
            </a:extLst>
          </p:cNvPr>
          <p:cNvSpPr/>
          <p:nvPr/>
        </p:nvSpPr>
        <p:spPr>
          <a:xfrm>
            <a:off x="1339506" y="349539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a:t>
            </a:r>
            <a:r>
              <a:rPr lang="da-DK" sz="1800" dirty="0" err="1">
                <a:latin typeface="+mj-lt"/>
              </a:rPr>
              <a:t>Coinoffer</a:t>
            </a:r>
            <a:r>
              <a:rPr lang="da-DK" sz="1800" dirty="0">
                <a:latin typeface="+mj-lt"/>
              </a:rPr>
              <a:t>’ på bagsiden</a:t>
            </a:r>
          </a:p>
        </p:txBody>
      </p:sp>
      <p:sp>
        <p:nvSpPr>
          <p:cNvPr id="22" name="Rektangel 21">
            <a:extLst>
              <a:ext uri="{FF2B5EF4-FFF2-40B4-BE49-F238E27FC236}">
                <a16:creationId xmlns:a16="http://schemas.microsoft.com/office/drawing/2014/main" id="{3350ECEF-9470-0042-1073-E5E81B7282C5}"/>
              </a:ext>
            </a:extLst>
          </p:cNvPr>
          <p:cNvSpPr/>
          <p:nvPr/>
        </p:nvSpPr>
        <p:spPr>
          <a:xfrm>
            <a:off x="1339506" y="4622114"/>
            <a:ext cx="4731094" cy="617905"/>
          </a:xfrm>
          <a:prstGeom prst="rect">
            <a:avLst/>
          </a:prstGeom>
          <a:solidFill>
            <a:schemeClr val="accent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a-DK" sz="1800" dirty="0">
                <a:latin typeface="+mj-lt"/>
              </a:rPr>
              <a:t>Søndags-tilbud</a:t>
            </a:r>
          </a:p>
        </p:txBody>
      </p:sp>
      <p:sp>
        <p:nvSpPr>
          <p:cNvPr id="2" name="Rektangel 1">
            <a:extLst>
              <a:ext uri="{FF2B5EF4-FFF2-40B4-BE49-F238E27FC236}">
                <a16:creationId xmlns:a16="http://schemas.microsoft.com/office/drawing/2014/main" id="{F509B646-B151-D76B-428B-9C80F3B62605}"/>
              </a:ext>
            </a:extLst>
          </p:cNvPr>
          <p:cNvSpPr/>
          <p:nvPr/>
        </p:nvSpPr>
        <p:spPr>
          <a:xfrm>
            <a:off x="0" y="5733664"/>
            <a:ext cx="12192000" cy="112433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ct val="150000"/>
              </a:lnSpc>
            </a:pPr>
            <a:r>
              <a:rPr lang="da-DK" sz="2000" b="1" dirty="0">
                <a:solidFill>
                  <a:schemeClr val="bg1"/>
                </a:solidFill>
                <a:latin typeface="+mj-lt"/>
              </a:rPr>
              <a:t>Fra uge 11 i 2024, går vi tilbage fra 14 dages aviser til 1 uges aviser</a:t>
            </a:r>
          </a:p>
          <a:p>
            <a:pPr algn="ctr">
              <a:lnSpc>
                <a:spcPct val="150000"/>
              </a:lnSpc>
            </a:pPr>
            <a:r>
              <a:rPr lang="da-DK" sz="2000" dirty="0">
                <a:solidFill>
                  <a:schemeClr val="bg1"/>
                </a:solidFill>
                <a:latin typeface="+mj-lt"/>
              </a:rPr>
              <a:t>Og vi fastholder stadig ovenstående avis principper</a:t>
            </a:r>
          </a:p>
        </p:txBody>
      </p:sp>
    </p:spTree>
    <p:extLst>
      <p:ext uri="{BB962C8B-B14F-4D97-AF65-F5344CB8AC3E}">
        <p14:creationId xmlns:p14="http://schemas.microsoft.com/office/powerpoint/2010/main" val="33906747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312797" cy="85314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i="0" u="none" strike="noStrike" kern="1200" cap="none" spc="0" normalizeH="0" baseline="0" noProof="0" dirty="0">
                <a:ln>
                  <a:noFill/>
                </a:ln>
                <a:solidFill>
                  <a:srgbClr val="C31919"/>
                </a:solidFill>
                <a:effectLst/>
                <a:uLnTx/>
                <a:uFillTx/>
                <a:latin typeface="COOP"/>
                <a:ea typeface="+mj-ea"/>
                <a:cs typeface="+mj-cs"/>
                <a:sym typeface="Trebuchet MS" panose="020B0603020202020204" pitchFamily="34" charset="0"/>
              </a:rPr>
              <a:t>2024| Hvad fokuserer Kvickly og SuperBrugsen på</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49993" y="6550905"/>
            <a:ext cx="692014" cy="198770"/>
          </a:xfrm>
          <a:prstGeom prst="rect">
            <a:avLst/>
          </a:prstGeom>
        </p:spPr>
      </p:pic>
      <p:sp>
        <p:nvSpPr>
          <p:cNvPr id="2" name="Ellipse 1">
            <a:extLst>
              <a:ext uri="{FF2B5EF4-FFF2-40B4-BE49-F238E27FC236}">
                <a16:creationId xmlns:a16="http://schemas.microsoft.com/office/drawing/2014/main" id="{BC61ED4B-58AD-0ADB-93D3-4D7464348D9E}"/>
              </a:ext>
            </a:extLst>
          </p:cNvPr>
          <p:cNvSpPr/>
          <p:nvPr/>
        </p:nvSpPr>
        <p:spPr>
          <a:xfrm>
            <a:off x="3414267"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Tørvarer</a:t>
            </a:r>
          </a:p>
        </p:txBody>
      </p:sp>
      <p:sp>
        <p:nvSpPr>
          <p:cNvPr id="3" name="Ellipse 2">
            <a:extLst>
              <a:ext uri="{FF2B5EF4-FFF2-40B4-BE49-F238E27FC236}">
                <a16:creationId xmlns:a16="http://schemas.microsoft.com/office/drawing/2014/main" id="{C358A6A4-07B6-9382-AA33-54991083B8BA}"/>
              </a:ext>
            </a:extLst>
          </p:cNvPr>
          <p:cNvSpPr/>
          <p:nvPr/>
        </p:nvSpPr>
        <p:spPr>
          <a:xfrm>
            <a:off x="469900"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2 millioner medlemmer</a:t>
            </a:r>
          </a:p>
        </p:txBody>
      </p:sp>
      <p:sp>
        <p:nvSpPr>
          <p:cNvPr id="6" name="Ellipse 5">
            <a:extLst>
              <a:ext uri="{FF2B5EF4-FFF2-40B4-BE49-F238E27FC236}">
                <a16:creationId xmlns:a16="http://schemas.microsoft.com/office/drawing/2014/main" id="{8FC209D4-7028-096B-6B98-7078E12C4C0D}"/>
              </a:ext>
            </a:extLst>
          </p:cNvPr>
          <p:cNvSpPr/>
          <p:nvPr/>
        </p:nvSpPr>
        <p:spPr>
          <a:xfrm>
            <a:off x="9247613"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Vores medarbejdere</a:t>
            </a:r>
          </a:p>
        </p:txBody>
      </p:sp>
      <p:sp>
        <p:nvSpPr>
          <p:cNvPr id="7" name="Ellipse 6">
            <a:extLst>
              <a:ext uri="{FF2B5EF4-FFF2-40B4-BE49-F238E27FC236}">
                <a16:creationId xmlns:a16="http://schemas.microsoft.com/office/drawing/2014/main" id="{996D53F3-112E-FEE1-3CDC-F18C92E88936}"/>
              </a:ext>
            </a:extLst>
          </p:cNvPr>
          <p:cNvSpPr/>
          <p:nvPr/>
        </p:nvSpPr>
        <p:spPr>
          <a:xfrm>
            <a:off x="6303226" y="3539543"/>
            <a:ext cx="2474487" cy="2248413"/>
          </a:xfrm>
          <a:prstGeom prst="ellipse">
            <a:avLst/>
          </a:prstGeom>
          <a:solidFill>
            <a:schemeClr val="bg1">
              <a:alpha val="7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b="1" dirty="0">
                <a:solidFill>
                  <a:schemeClr val="tx2"/>
                </a:solidFill>
                <a:latin typeface="+mj-lt"/>
              </a:rPr>
              <a:t>Sortiment</a:t>
            </a:r>
          </a:p>
        </p:txBody>
      </p:sp>
    </p:spTree>
    <p:extLst>
      <p:ext uri="{BB962C8B-B14F-4D97-AF65-F5344CB8AC3E}">
        <p14:creationId xmlns:p14="http://schemas.microsoft.com/office/powerpoint/2010/main" val="346840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4">
            <a:extLst>
              <a:ext uri="{FF2B5EF4-FFF2-40B4-BE49-F238E27FC236}">
                <a16:creationId xmlns:a16="http://schemas.microsoft.com/office/drawing/2014/main" id="{A8CCCB6D-5162-4AAE-A5E3-3AC55410DB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BCD8C04-CC7B-40EF-82EB-E9821F79BB8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70" y="2458"/>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Billede 7">
            <a:extLst>
              <a:ext uri="{FF2B5EF4-FFF2-40B4-BE49-F238E27FC236}">
                <a16:creationId xmlns:a16="http://schemas.microsoft.com/office/drawing/2014/main" id="{88CC7102-1F06-5B78-AA22-76F87D0C3C11}"/>
              </a:ext>
            </a:extLst>
          </p:cNvPr>
          <p:cNvPicPr>
            <a:picLocks noChangeAspect="1"/>
          </p:cNvPicPr>
          <p:nvPr/>
        </p:nvPicPr>
        <p:blipFill rotWithShape="1">
          <a:blip r:embed="rId2" cstate="screen">
            <a:alphaModFix amt="80000"/>
            <a:extLst>
              <a:ext uri="{28A0092B-C50C-407E-A947-70E740481C1C}">
                <a14:useLocalDpi xmlns:a14="http://schemas.microsoft.com/office/drawing/2010/main"/>
              </a:ext>
            </a:extLst>
          </a:blip>
          <a:srcRect/>
          <a:stretch/>
        </p:blipFill>
        <p:spPr>
          <a:xfrm>
            <a:off x="13581" y="10"/>
            <a:ext cx="8436566" cy="6857990"/>
          </a:xfrm>
          <a:prstGeom prst="rect">
            <a:avLst/>
          </a:prstGeom>
        </p:spPr>
      </p:pic>
      <p:pic>
        <p:nvPicPr>
          <p:cNvPr id="9" name="Billede 8">
            <a:extLst>
              <a:ext uri="{FF2B5EF4-FFF2-40B4-BE49-F238E27FC236}">
                <a16:creationId xmlns:a16="http://schemas.microsoft.com/office/drawing/2014/main" id="{66D8AE12-73BB-E463-4CDB-AAF71522A1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35700" y="-2458"/>
            <a:ext cx="5953082" cy="685800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135890" y="113371"/>
            <a:ext cx="11916832" cy="850900"/>
          </a:xfrm>
          <a:prstGeom prst="rect">
            <a:avLst/>
          </a:prstGeom>
          <a:solidFill>
            <a:schemeClr val="bg1">
              <a:alpha val="85000"/>
            </a:schemeClr>
          </a:solidFill>
          <a:ln>
            <a:solidFill>
              <a:schemeClr val="bg1"/>
            </a:solidFill>
          </a:ln>
        </p:spPr>
        <p:txBody>
          <a:bodyPr vert="horz" lIns="91440" tIns="45720" rIns="91440" bIns="4572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a:spcAft>
                <a:spcPts val="600"/>
              </a:spcAft>
            </a:pPr>
            <a:r>
              <a:rPr lang="en-US" sz="2400" kern="1200" dirty="0" err="1">
                <a:solidFill>
                  <a:schemeClr val="tx2"/>
                </a:solidFill>
                <a:latin typeface="+mj-lt"/>
                <a:ea typeface="+mj-ea"/>
                <a:cs typeface="+mj-cs"/>
              </a:rPr>
              <a:t>Medlemm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Lige</a:t>
            </a:r>
            <a:r>
              <a:rPr lang="en-US" sz="2400" b="0" kern="1200" dirty="0">
                <a:solidFill>
                  <a:schemeClr val="tx2"/>
                </a:solidFill>
                <a:latin typeface="+mj-lt"/>
                <a:ea typeface="+mj-ea"/>
                <a:cs typeface="+mj-cs"/>
              </a:rPr>
              <a:t> om </a:t>
            </a:r>
            <a:r>
              <a:rPr lang="en-US" sz="2400" b="0" kern="1200" dirty="0" err="1">
                <a:solidFill>
                  <a:schemeClr val="tx2"/>
                </a:solidFill>
                <a:latin typeface="+mj-lt"/>
                <a:ea typeface="+mj-ea"/>
                <a:cs typeface="+mj-cs"/>
              </a:rPr>
              <a:t>lidt</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runder</a:t>
            </a:r>
            <a:r>
              <a:rPr lang="en-US" sz="2400" b="0" kern="1200" dirty="0">
                <a:solidFill>
                  <a:schemeClr val="tx2"/>
                </a:solidFill>
                <a:latin typeface="+mj-lt"/>
                <a:ea typeface="+mj-ea"/>
                <a:cs typeface="+mj-cs"/>
              </a:rPr>
              <a:t> vi 2 </a:t>
            </a:r>
            <a:r>
              <a:rPr lang="en-US" sz="2400" b="0" kern="1200" dirty="0" err="1">
                <a:solidFill>
                  <a:schemeClr val="tx2"/>
                </a:solidFill>
                <a:latin typeface="+mj-lt"/>
                <a:ea typeface="+mj-ea"/>
                <a:cs typeface="+mj-cs"/>
              </a:rPr>
              <a:t>million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medlemmer</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og</a:t>
            </a:r>
            <a:r>
              <a:rPr lang="en-US" sz="2400" b="0" kern="1200" dirty="0">
                <a:solidFill>
                  <a:schemeClr val="tx2"/>
                </a:solidFill>
                <a:latin typeface="+mj-lt"/>
                <a:ea typeface="+mj-ea"/>
                <a:cs typeface="+mj-cs"/>
              </a:rPr>
              <a:t> det </a:t>
            </a:r>
            <a:r>
              <a:rPr lang="en-US" sz="2400" b="0" kern="1200" dirty="0" err="1">
                <a:solidFill>
                  <a:schemeClr val="tx2"/>
                </a:solidFill>
                <a:latin typeface="+mj-lt"/>
                <a:ea typeface="+mj-ea"/>
                <a:cs typeface="+mj-cs"/>
              </a:rPr>
              <a:t>skal</a:t>
            </a:r>
            <a:r>
              <a:rPr lang="en-US" sz="2400" b="0" kern="1200" dirty="0">
                <a:solidFill>
                  <a:schemeClr val="tx2"/>
                </a:solidFill>
                <a:latin typeface="+mj-lt"/>
                <a:ea typeface="+mj-ea"/>
                <a:cs typeface="+mj-cs"/>
              </a:rPr>
              <a:t> </a:t>
            </a:r>
            <a:r>
              <a:rPr lang="en-US" sz="2400" b="0" dirty="0" err="1">
                <a:solidFill>
                  <a:schemeClr val="tx2"/>
                </a:solidFill>
                <a:latin typeface="+mj-lt"/>
              </a:rPr>
              <a:t>markeres</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bl.a</a:t>
            </a:r>
            <a:r>
              <a:rPr lang="en-US" sz="2400" b="0" kern="1200" dirty="0">
                <a:solidFill>
                  <a:schemeClr val="tx2"/>
                </a:solidFill>
                <a:latin typeface="+mj-lt"/>
                <a:ea typeface="+mj-ea"/>
                <a:cs typeface="+mj-cs"/>
              </a:rPr>
              <a:t> via </a:t>
            </a:r>
            <a:r>
              <a:rPr lang="en-US" sz="2400" b="0" kern="1200" dirty="0" err="1">
                <a:solidFill>
                  <a:schemeClr val="tx2"/>
                </a:solidFill>
                <a:latin typeface="+mj-lt"/>
                <a:ea typeface="+mj-ea"/>
                <a:cs typeface="+mj-cs"/>
              </a:rPr>
              <a:t>vores</a:t>
            </a:r>
            <a:r>
              <a:rPr lang="en-US" sz="2400" b="0" kern="1200" dirty="0">
                <a:solidFill>
                  <a:schemeClr val="tx2"/>
                </a:solidFill>
                <a:latin typeface="+mj-lt"/>
                <a:ea typeface="+mj-ea"/>
                <a:cs typeface="+mj-cs"/>
              </a:rPr>
              <a:t> </a:t>
            </a:r>
            <a:r>
              <a:rPr lang="en-US" sz="2400" b="0" kern="1200" dirty="0" err="1">
                <a:solidFill>
                  <a:schemeClr val="tx2"/>
                </a:solidFill>
                <a:latin typeface="+mj-lt"/>
                <a:ea typeface="+mj-ea"/>
                <a:cs typeface="+mj-cs"/>
              </a:rPr>
              <a:t>tilbuds-aviser</a:t>
            </a:r>
            <a:endParaRPr lang="en-US" sz="2400" b="0" kern="1200" dirty="0">
              <a:solidFill>
                <a:schemeClr val="tx2"/>
              </a:solidFill>
              <a:latin typeface="+mj-lt"/>
              <a:ea typeface="+mj-ea"/>
              <a:cs typeface="+mj-cs"/>
            </a:endParaRPr>
          </a:p>
        </p:txBody>
      </p:sp>
    </p:spTree>
    <p:extLst>
      <p:ext uri="{BB962C8B-B14F-4D97-AF65-F5344CB8AC3E}">
        <p14:creationId xmlns:p14="http://schemas.microsoft.com/office/powerpoint/2010/main" val="487403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a:extLst>
              <a:ext uri="{FF2B5EF4-FFF2-40B4-BE49-F238E27FC236}">
                <a16:creationId xmlns:a16="http://schemas.microsoft.com/office/drawing/2014/main" id="{D91CBB9B-37BC-935E-5BE6-4D4A6357343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0" y="0"/>
            <a:ext cx="12192000" cy="7061733"/>
          </a:xfrm>
          <a:prstGeom prst="rect">
            <a:avLst/>
          </a:prstGeom>
        </p:spPr>
      </p:pic>
      <p:sp>
        <p:nvSpPr>
          <p:cNvPr id="3" name="GradientOverlay">
            <a:extLst>
              <a:ext uri="{FF2B5EF4-FFF2-40B4-BE49-F238E27FC236}">
                <a16:creationId xmlns:a16="http://schemas.microsoft.com/office/drawing/2014/main" id="{2308CCBD-B0A9-251C-9C83-5ED0E5497449}"/>
              </a:ext>
            </a:extLst>
          </p:cNvPr>
          <p:cNvSpPr/>
          <p:nvPr>
            <p:custDataLst>
              <p:tags r:id="rId1"/>
            </p:custDataLst>
          </p:nvPr>
        </p:nvSpPr>
        <p:spPr>
          <a:xfrm>
            <a:off x="0" y="1"/>
            <a:ext cx="12192000" cy="7061732"/>
          </a:xfrm>
          <a:prstGeom prst="rect">
            <a:avLst/>
          </a:prstGeom>
          <a:solidFill>
            <a:srgbClr val="000000">
              <a:alpha val="56863"/>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5" name="Rectangle: Rounded Corners 8">
            <a:extLst>
              <a:ext uri="{FF2B5EF4-FFF2-40B4-BE49-F238E27FC236}">
                <a16:creationId xmlns:a16="http://schemas.microsoft.com/office/drawing/2014/main" id="{0F0535E5-6104-FC38-55A5-A8F5575AA59A}"/>
              </a:ext>
            </a:extLst>
          </p:cNvPr>
          <p:cNvSpPr/>
          <p:nvPr/>
        </p:nvSpPr>
        <p:spPr>
          <a:xfrm>
            <a:off x="3831725"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Profitabel kampagne ved fælles in-store aktivering</a:t>
            </a:r>
          </a:p>
        </p:txBody>
      </p:sp>
      <p:sp>
        <p:nvSpPr>
          <p:cNvPr id="6" name="Rectangle: Rounded Corners 11">
            <a:extLst>
              <a:ext uri="{FF2B5EF4-FFF2-40B4-BE49-F238E27FC236}">
                <a16:creationId xmlns:a16="http://schemas.microsoft.com/office/drawing/2014/main" id="{F28297A4-B5A3-2480-2C93-B4CDC6E46618}"/>
              </a:ext>
            </a:extLst>
          </p:cNvPr>
          <p:cNvSpPr/>
          <p:nvPr/>
        </p:nvSpPr>
        <p:spPr>
          <a:xfrm>
            <a:off x="9286298"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Løft sæsonerne med Centrale sæsonfag</a:t>
            </a:r>
          </a:p>
        </p:txBody>
      </p:sp>
      <p:sp>
        <p:nvSpPr>
          <p:cNvPr id="7" name="Rectangle: Rounded Corners 9">
            <a:extLst>
              <a:ext uri="{FF2B5EF4-FFF2-40B4-BE49-F238E27FC236}">
                <a16:creationId xmlns:a16="http://schemas.microsoft.com/office/drawing/2014/main" id="{40456503-A43A-EA4B-906B-D8FD2A60BD6B}"/>
              </a:ext>
            </a:extLst>
          </p:cNvPr>
          <p:cNvSpPr/>
          <p:nvPr/>
        </p:nvSpPr>
        <p:spPr>
          <a:xfrm>
            <a:off x="6559012"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weekend-kunden med Irma</a:t>
            </a:r>
          </a:p>
        </p:txBody>
      </p:sp>
      <p:sp>
        <p:nvSpPr>
          <p:cNvPr id="8" name="Rectangle: Rounded Corners 21">
            <a:extLst>
              <a:ext uri="{FF2B5EF4-FFF2-40B4-BE49-F238E27FC236}">
                <a16:creationId xmlns:a16="http://schemas.microsoft.com/office/drawing/2014/main" id="{ADB06AA1-D98C-05B2-D639-62DB5806541C}"/>
              </a:ext>
            </a:extLst>
          </p:cNvPr>
          <p:cNvSpPr/>
          <p:nvPr/>
        </p:nvSpPr>
        <p:spPr>
          <a:xfrm>
            <a:off x="6559012" y="1278406"/>
            <a:ext cx="2160000"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weekenden</a:t>
            </a:r>
          </a:p>
        </p:txBody>
      </p:sp>
      <p:sp>
        <p:nvSpPr>
          <p:cNvPr id="9" name="Rectangle: Rounded Corners 19">
            <a:extLst>
              <a:ext uri="{FF2B5EF4-FFF2-40B4-BE49-F238E27FC236}">
                <a16:creationId xmlns:a16="http://schemas.microsoft.com/office/drawing/2014/main" id="{37502D0B-8D70-F002-5AE5-5485B77F0138}"/>
              </a:ext>
            </a:extLst>
          </p:cNvPr>
          <p:cNvSpPr/>
          <p:nvPr/>
        </p:nvSpPr>
        <p:spPr>
          <a:xfrm>
            <a:off x="1230227" y="1278406"/>
            <a:ext cx="4761498"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hverdagen</a:t>
            </a:r>
          </a:p>
        </p:txBody>
      </p:sp>
      <p:sp>
        <p:nvSpPr>
          <p:cNvPr id="11" name="Rectangle: Rounded Corners 18">
            <a:extLst>
              <a:ext uri="{FF2B5EF4-FFF2-40B4-BE49-F238E27FC236}">
                <a16:creationId xmlns:a16="http://schemas.microsoft.com/office/drawing/2014/main" id="{FF914871-24A6-6AED-2FB3-7160D50D88A0}"/>
              </a:ext>
            </a:extLst>
          </p:cNvPr>
          <p:cNvSpPr/>
          <p:nvPr/>
        </p:nvSpPr>
        <p:spPr>
          <a:xfrm>
            <a:off x="9286299" y="1278406"/>
            <a:ext cx="2160000" cy="432000"/>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t" anchorCtr="0" forceAA="0" compatLnSpc="1">
            <a:prstTxWarp prst="textNoShape">
              <a:avLst/>
            </a:prstTxWarp>
            <a:noAutofit/>
          </a:bodyPr>
          <a:lstStyle/>
          <a:p>
            <a:pPr algn="ctr"/>
            <a:r>
              <a:rPr lang="da-DK" b="1" dirty="0">
                <a:solidFill>
                  <a:srgbClr val="FFFFFF"/>
                </a:solidFill>
              </a:rPr>
              <a:t>Vind sæson</a:t>
            </a:r>
          </a:p>
        </p:txBody>
      </p:sp>
      <p:sp>
        <p:nvSpPr>
          <p:cNvPr id="12" name="Rectangle: Rounded Corners 22">
            <a:extLst>
              <a:ext uri="{FF2B5EF4-FFF2-40B4-BE49-F238E27FC236}">
                <a16:creationId xmlns:a16="http://schemas.microsoft.com/office/drawing/2014/main" id="{F5B61D18-CEC1-C813-8ADB-CD885C996DB7}"/>
              </a:ext>
            </a:extLst>
          </p:cNvPr>
          <p:cNvSpPr/>
          <p:nvPr/>
        </p:nvSpPr>
        <p:spPr>
          <a:xfrm>
            <a:off x="9286298"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Bedre realisering med hjælp fra nyt Prisværktøj</a:t>
            </a:r>
          </a:p>
        </p:txBody>
      </p:sp>
      <p:sp>
        <p:nvSpPr>
          <p:cNvPr id="13" name="Rectangle: Rounded Corners 23">
            <a:extLst>
              <a:ext uri="{FF2B5EF4-FFF2-40B4-BE49-F238E27FC236}">
                <a16:creationId xmlns:a16="http://schemas.microsoft.com/office/drawing/2014/main" id="{D2526893-95D0-6FB3-4796-C45637874A2A}"/>
              </a:ext>
            </a:extLst>
          </p:cNvPr>
          <p:cNvSpPr/>
          <p:nvPr/>
        </p:nvSpPr>
        <p:spPr>
          <a:xfrm>
            <a:off x="1230227"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Bedre varetilgængelighed på hylden</a:t>
            </a:r>
          </a:p>
        </p:txBody>
      </p:sp>
      <p:sp>
        <p:nvSpPr>
          <p:cNvPr id="14" name="Rectangle: Rounded Corners 24">
            <a:extLst>
              <a:ext uri="{FF2B5EF4-FFF2-40B4-BE49-F238E27FC236}">
                <a16:creationId xmlns:a16="http://schemas.microsoft.com/office/drawing/2014/main" id="{778F1BD8-4EF2-AA76-B425-3A8486FF7E86}"/>
              </a:ext>
            </a:extLst>
          </p:cNvPr>
          <p:cNvSpPr/>
          <p:nvPr/>
        </p:nvSpPr>
        <p:spPr>
          <a:xfrm>
            <a:off x="3831725" y="1794580"/>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Styrket sortiment ved eksekvering af </a:t>
            </a:r>
            <a:r>
              <a:rPr lang="da-DK" sz="1400" b="1" dirty="0" err="1">
                <a:solidFill>
                  <a:srgbClr val="FFFFFF"/>
                </a:solidFill>
              </a:rPr>
              <a:t>KatReset</a:t>
            </a:r>
            <a:endParaRPr lang="da-DK" sz="1400" b="1" dirty="0">
              <a:solidFill>
                <a:srgbClr val="FFFFFF"/>
              </a:solidFill>
            </a:endParaRPr>
          </a:p>
        </p:txBody>
      </p:sp>
      <p:sp>
        <p:nvSpPr>
          <p:cNvPr id="15" name="Rectangle: Rounded Corners 26">
            <a:extLst>
              <a:ext uri="{FF2B5EF4-FFF2-40B4-BE49-F238E27FC236}">
                <a16:creationId xmlns:a16="http://schemas.microsoft.com/office/drawing/2014/main" id="{F103282F-9F1F-A8AE-598D-E951A43162F3}"/>
              </a:ext>
            </a:extLst>
          </p:cNvPr>
          <p:cNvSpPr/>
          <p:nvPr/>
        </p:nvSpPr>
        <p:spPr>
          <a:xfrm>
            <a:off x="1230227"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Avanceløft ved aktivering til normalpris</a:t>
            </a:r>
          </a:p>
        </p:txBody>
      </p:sp>
      <p:sp>
        <p:nvSpPr>
          <p:cNvPr id="16" name="Rectangle: Rounded Corners 27">
            <a:extLst>
              <a:ext uri="{FF2B5EF4-FFF2-40B4-BE49-F238E27FC236}">
                <a16:creationId xmlns:a16="http://schemas.microsoft.com/office/drawing/2014/main" id="{7C007782-B52E-5816-551E-5C9F6FBB8DE2}"/>
              </a:ext>
            </a:extLst>
          </p:cNvPr>
          <p:cNvSpPr/>
          <p:nvPr/>
        </p:nvSpPr>
        <p:spPr>
          <a:xfrm>
            <a:off x="1230227" y="3618928"/>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Prisperception ved aktivering af Coop</a:t>
            </a:r>
          </a:p>
        </p:txBody>
      </p:sp>
      <p:sp>
        <p:nvSpPr>
          <p:cNvPr id="17" name="Rectangle: Rounded Corners 29">
            <a:extLst>
              <a:ext uri="{FF2B5EF4-FFF2-40B4-BE49-F238E27FC236}">
                <a16:creationId xmlns:a16="http://schemas.microsoft.com/office/drawing/2014/main" id="{B3E8084B-8453-4A4C-6F10-5E918E859EA6}"/>
              </a:ext>
            </a:extLst>
          </p:cNvPr>
          <p:cNvSpPr/>
          <p:nvPr/>
        </p:nvSpPr>
        <p:spPr>
          <a:xfrm>
            <a:off x="3831725" y="3618927"/>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økologikunden med Änglamark</a:t>
            </a:r>
          </a:p>
        </p:txBody>
      </p:sp>
      <p:sp>
        <p:nvSpPr>
          <p:cNvPr id="18" name="Rectangle: Rounded Corners 60">
            <a:extLst>
              <a:ext uri="{FF2B5EF4-FFF2-40B4-BE49-F238E27FC236}">
                <a16:creationId xmlns:a16="http://schemas.microsoft.com/office/drawing/2014/main" id="{5ACCDA3C-DCEE-0C6B-40BD-35AED55F320B}"/>
              </a:ext>
            </a:extLst>
          </p:cNvPr>
          <p:cNvSpPr/>
          <p:nvPr/>
        </p:nvSpPr>
        <p:spPr>
          <a:xfrm>
            <a:off x="9286298" y="3618927"/>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Sæson aktivering af det hemmelige guld til høj avance</a:t>
            </a:r>
          </a:p>
        </p:txBody>
      </p:sp>
      <p:sp>
        <p:nvSpPr>
          <p:cNvPr id="19" name="TextBox 61">
            <a:extLst>
              <a:ext uri="{FF2B5EF4-FFF2-40B4-BE49-F238E27FC236}">
                <a16:creationId xmlns:a16="http://schemas.microsoft.com/office/drawing/2014/main" id="{A183F89F-E705-4503-6D8F-19D45964E512}"/>
              </a:ext>
            </a:extLst>
          </p:cNvPr>
          <p:cNvSpPr txBox="1"/>
          <p:nvPr/>
        </p:nvSpPr>
        <p:spPr>
          <a:xfrm rot="16200000" flipH="1">
            <a:off x="-474222" y="2742182"/>
            <a:ext cx="2245959" cy="454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i="1" dirty="0">
                <a:solidFill>
                  <a:schemeClr val="bg1"/>
                </a:solidFill>
              </a:rPr>
              <a:t>Et styrket kundemøde</a:t>
            </a:r>
          </a:p>
        </p:txBody>
      </p:sp>
      <p:cxnSp>
        <p:nvCxnSpPr>
          <p:cNvPr id="20" name="Straight Connector 63">
            <a:extLst>
              <a:ext uri="{FF2B5EF4-FFF2-40B4-BE49-F238E27FC236}">
                <a16:creationId xmlns:a16="http://schemas.microsoft.com/office/drawing/2014/main" id="{3610A005-2D8B-CD6A-B328-EAF4903CED03}"/>
              </a:ext>
            </a:extLst>
          </p:cNvPr>
          <p:cNvCxnSpPr>
            <a:cxnSpLocks/>
          </p:cNvCxnSpPr>
          <p:nvPr/>
        </p:nvCxnSpPr>
        <p:spPr>
          <a:xfrm>
            <a:off x="391582" y="4740988"/>
            <a:ext cx="11073343" cy="0"/>
          </a:xfrm>
          <a:prstGeom prst="line">
            <a:avLst/>
          </a:prstGeom>
          <a:ln w="19050" cap="rnd" cmpd="sng" algn="ctr">
            <a:solidFill>
              <a:schemeClr val="bg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64">
            <a:extLst>
              <a:ext uri="{FF2B5EF4-FFF2-40B4-BE49-F238E27FC236}">
                <a16:creationId xmlns:a16="http://schemas.microsoft.com/office/drawing/2014/main" id="{7981072A-C5A8-2FA8-D083-5F7DDDCAB433}"/>
              </a:ext>
            </a:extLst>
          </p:cNvPr>
          <p:cNvSpPr txBox="1"/>
          <p:nvPr/>
        </p:nvSpPr>
        <p:spPr>
          <a:xfrm rot="16200000" flipH="1">
            <a:off x="-303942" y="5502363"/>
            <a:ext cx="2001710" cy="454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600" b="1" i="1" dirty="0">
                <a:solidFill>
                  <a:schemeClr val="bg1"/>
                </a:solidFill>
              </a:rPr>
              <a:t>En simplere</a:t>
            </a:r>
          </a:p>
          <a:p>
            <a:pPr algn="ctr"/>
            <a:r>
              <a:rPr lang="da-DK" sz="1600" b="1" i="1" dirty="0">
                <a:solidFill>
                  <a:schemeClr val="bg1"/>
                </a:solidFill>
              </a:rPr>
              <a:t> drift for butik</a:t>
            </a:r>
          </a:p>
        </p:txBody>
      </p:sp>
      <p:sp>
        <p:nvSpPr>
          <p:cNvPr id="22" name="Rectangle: Rounded Corners 67">
            <a:extLst>
              <a:ext uri="{FF2B5EF4-FFF2-40B4-BE49-F238E27FC236}">
                <a16:creationId xmlns:a16="http://schemas.microsoft.com/office/drawing/2014/main" id="{26ED9974-B69C-B4A3-D7F7-DE586DACFB39}"/>
              </a:ext>
            </a:extLst>
          </p:cNvPr>
          <p:cNvSpPr/>
          <p:nvPr/>
        </p:nvSpPr>
        <p:spPr>
          <a:xfrm>
            <a:off x="1230227" y="5003337"/>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Væk med </a:t>
            </a:r>
          </a:p>
          <a:p>
            <a:pPr algn="ctr"/>
            <a:r>
              <a:rPr lang="da-DK" sz="1400" b="1" dirty="0">
                <a:solidFill>
                  <a:srgbClr val="FFFFFF"/>
                </a:solidFill>
              </a:rPr>
              <a:t>"Sten I Skoen" for bedre drift</a:t>
            </a:r>
          </a:p>
        </p:txBody>
      </p:sp>
      <p:sp>
        <p:nvSpPr>
          <p:cNvPr id="23" name="Rectangle: Rounded Corners 68">
            <a:extLst>
              <a:ext uri="{FF2B5EF4-FFF2-40B4-BE49-F238E27FC236}">
                <a16:creationId xmlns:a16="http://schemas.microsoft.com/office/drawing/2014/main" id="{7C7CF17F-9C8C-ED7B-1BD3-486987973C7D}"/>
              </a:ext>
            </a:extLst>
          </p:cNvPr>
          <p:cNvSpPr/>
          <p:nvPr/>
        </p:nvSpPr>
        <p:spPr>
          <a:xfrm>
            <a:off x="3346103" y="5017189"/>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Tilpas driftsmanualen til tørvarens behov</a:t>
            </a:r>
          </a:p>
        </p:txBody>
      </p:sp>
      <p:sp>
        <p:nvSpPr>
          <p:cNvPr id="24" name="Rectangle: Rounded Corners 69">
            <a:extLst>
              <a:ext uri="{FF2B5EF4-FFF2-40B4-BE49-F238E27FC236}">
                <a16:creationId xmlns:a16="http://schemas.microsoft.com/office/drawing/2014/main" id="{E93440BF-1E5C-6142-CFCE-CF35F1E2922C}"/>
              </a:ext>
            </a:extLst>
          </p:cNvPr>
          <p:cNvSpPr/>
          <p:nvPr/>
        </p:nvSpPr>
        <p:spPr>
          <a:xfrm>
            <a:off x="5461979" y="5037233"/>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Bedre kommunikation med </a:t>
            </a:r>
            <a:r>
              <a:rPr lang="da-DK" sz="1400" b="1" dirty="0" err="1">
                <a:solidFill>
                  <a:srgbClr val="FFFFFF"/>
                </a:solidFill>
              </a:rPr>
              <a:t>service-kontor</a:t>
            </a:r>
            <a:r>
              <a:rPr lang="da-DK" sz="1400" b="1" dirty="0">
                <a:solidFill>
                  <a:srgbClr val="FFFFFF"/>
                </a:solidFill>
              </a:rPr>
              <a:t> &amp; </a:t>
            </a:r>
            <a:r>
              <a:rPr lang="da-DK" sz="1400" b="1" dirty="0" err="1">
                <a:solidFill>
                  <a:srgbClr val="FFFFFF"/>
                </a:solidFill>
              </a:rPr>
              <a:t>best</a:t>
            </a:r>
            <a:r>
              <a:rPr lang="da-DK" sz="1400" b="1" dirty="0">
                <a:solidFill>
                  <a:srgbClr val="FFFFFF"/>
                </a:solidFill>
              </a:rPr>
              <a:t> practice forum</a:t>
            </a:r>
          </a:p>
        </p:txBody>
      </p:sp>
      <p:sp>
        <p:nvSpPr>
          <p:cNvPr id="25" name="Rectangle: Rounded Corners 71">
            <a:extLst>
              <a:ext uri="{FF2B5EF4-FFF2-40B4-BE49-F238E27FC236}">
                <a16:creationId xmlns:a16="http://schemas.microsoft.com/office/drawing/2014/main" id="{8163275D-CABB-1ECA-D22B-3B99B0DA5BC3}"/>
              </a:ext>
            </a:extLst>
          </p:cNvPr>
          <p:cNvSpPr/>
          <p:nvPr/>
        </p:nvSpPr>
        <p:spPr>
          <a:xfrm>
            <a:off x="7577855" y="5047444"/>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a:solidFill>
                  <a:srgbClr val="FFFFFF"/>
                </a:solidFill>
              </a:rPr>
              <a:t>Tørvarer-lederen i fokus</a:t>
            </a:r>
          </a:p>
        </p:txBody>
      </p:sp>
      <p:sp>
        <p:nvSpPr>
          <p:cNvPr id="26" name="Rectangle: Rounded Corners 72">
            <a:extLst>
              <a:ext uri="{FF2B5EF4-FFF2-40B4-BE49-F238E27FC236}">
                <a16:creationId xmlns:a16="http://schemas.microsoft.com/office/drawing/2014/main" id="{77D04C39-E5D2-E909-7256-3EC893A5C503}"/>
              </a:ext>
            </a:extLst>
          </p:cNvPr>
          <p:cNvSpPr/>
          <p:nvPr/>
        </p:nvSpPr>
        <p:spPr>
          <a:xfrm>
            <a:off x="9693731" y="5047444"/>
            <a:ext cx="1752568" cy="1452077"/>
          </a:xfrm>
          <a:prstGeom prst="roundRect">
            <a:avLst/>
          </a:prstGeom>
          <a:solidFill>
            <a:srgbClr val="CBCBCB">
              <a:alpha val="65882"/>
            </a:srgbClr>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a-DK" sz="1400" b="1" dirty="0" err="1">
                <a:solidFill>
                  <a:srgbClr val="FFFFFF"/>
                </a:solidFill>
              </a:rPr>
              <a:t>Tørvarekon-kurrencer</a:t>
            </a:r>
            <a:r>
              <a:rPr lang="da-DK" sz="1400" b="1" dirty="0">
                <a:solidFill>
                  <a:srgbClr val="FFFFFF"/>
                </a:solidFill>
              </a:rPr>
              <a:t> skaber </a:t>
            </a:r>
            <a:r>
              <a:rPr lang="da-DK" sz="1400" b="1" dirty="0" err="1">
                <a:solidFill>
                  <a:srgbClr val="FFFFFF"/>
                </a:solidFill>
              </a:rPr>
              <a:t>moti-vation</a:t>
            </a:r>
            <a:r>
              <a:rPr lang="da-DK" sz="1400" b="1" dirty="0">
                <a:solidFill>
                  <a:srgbClr val="FFFFFF"/>
                </a:solidFill>
              </a:rPr>
              <a:t> &amp; gejst</a:t>
            </a:r>
          </a:p>
        </p:txBody>
      </p:sp>
      <p:sp>
        <p:nvSpPr>
          <p:cNvPr id="29" name="Rectangle: Rounded Corners 7">
            <a:extLst>
              <a:ext uri="{FF2B5EF4-FFF2-40B4-BE49-F238E27FC236}">
                <a16:creationId xmlns:a16="http://schemas.microsoft.com/office/drawing/2014/main" id="{561777B4-B1BF-BC5D-EA4A-5D075BE092A1}"/>
              </a:ext>
            </a:extLst>
          </p:cNvPr>
          <p:cNvSpPr/>
          <p:nvPr/>
        </p:nvSpPr>
        <p:spPr>
          <a:xfrm>
            <a:off x="6559012" y="2706754"/>
            <a:ext cx="2160000" cy="828000"/>
          </a:xfrm>
          <a:prstGeom prst="roundRect">
            <a:avLst/>
          </a:prstGeom>
          <a:solidFill>
            <a:srgbClr val="F08888">
              <a:alpha val="60000"/>
            </a:srgbClr>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46800" rIns="18000" bIns="45720" numCol="1" spcCol="0" rtlCol="0" fromWordArt="0" anchor="ctr" anchorCtr="0" forceAA="0" compatLnSpc="1">
            <a:prstTxWarp prst="textNoShape">
              <a:avLst/>
            </a:prstTxWarp>
            <a:noAutofit/>
          </a:bodyPr>
          <a:lstStyle/>
          <a:p>
            <a:pPr algn="ctr"/>
            <a:r>
              <a:rPr lang="da-DK" sz="1400" b="1" dirty="0">
                <a:solidFill>
                  <a:srgbClr val="FFFFFF"/>
                </a:solidFill>
              </a:rPr>
              <a:t>Vind med 1-ugers aviser, </a:t>
            </a:r>
            <a:r>
              <a:rPr lang="da-DK" sz="1400" b="1" dirty="0" err="1">
                <a:solidFill>
                  <a:srgbClr val="FFFFFF"/>
                </a:solidFill>
              </a:rPr>
              <a:t>Spicy</a:t>
            </a:r>
            <a:r>
              <a:rPr lang="da-DK" sz="1400" b="1" dirty="0">
                <a:solidFill>
                  <a:srgbClr val="FFFFFF"/>
                </a:solidFill>
              </a:rPr>
              <a:t> offers &amp; Endelig fredag</a:t>
            </a: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7"/>
            <a:ext cx="11312797" cy="755648"/>
          </a:xfrm>
          <a:prstGeom prst="rect">
            <a:avLst/>
          </a:prstGeom>
          <a:solidFill>
            <a:schemeClr val="bg1">
              <a:alpha val="70000"/>
            </a:schemeClr>
          </a:solidFill>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Tørvarer</a:t>
            </a:r>
            <a:r>
              <a:rPr lang="da-DK" sz="2400" b="0" dirty="0">
                <a:solidFill>
                  <a:schemeClr val="tx2"/>
                </a:solidFill>
              </a:rPr>
              <a:t>| Afvikling af årets største messe for alle tørvare ledere Formålet: Vi skal løfte kundemødet og skabe en lettere hverdag for butik</a:t>
            </a:r>
          </a:p>
        </p:txBody>
      </p:sp>
    </p:spTree>
    <p:extLst>
      <p:ext uri="{BB962C8B-B14F-4D97-AF65-F5344CB8AC3E}">
        <p14:creationId xmlns:p14="http://schemas.microsoft.com/office/powerpoint/2010/main" val="37908321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0273C569-1949-DFE2-3124-AB0C3BEAC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493" r="3531"/>
          <a:stretch/>
        </p:blipFill>
        <p:spPr>
          <a:xfrm>
            <a:off x="8212418" y="0"/>
            <a:ext cx="3979582" cy="6858000"/>
          </a:xfrm>
          <a:prstGeom prst="rect">
            <a:avLst/>
          </a:prstGeom>
        </p:spPr>
      </p:pic>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754782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Sortiment</a:t>
            </a:r>
            <a:r>
              <a:rPr lang="da-DK" sz="2400" b="0" dirty="0">
                <a:solidFill>
                  <a:schemeClr val="tx2"/>
                </a:solidFill>
              </a:rPr>
              <a:t>| Vi genbesøger sortimentet på de største vareområder med det formål at:</a:t>
            </a:r>
          </a:p>
        </p:txBody>
      </p:sp>
      <p:sp>
        <p:nvSpPr>
          <p:cNvPr id="3" name="TextBox 44">
            <a:extLst>
              <a:ext uri="{FF2B5EF4-FFF2-40B4-BE49-F238E27FC236}">
                <a16:creationId xmlns:a16="http://schemas.microsoft.com/office/drawing/2014/main" id="{25A7B2A2-0134-51B3-6D41-53F96AA077DA}"/>
              </a:ext>
            </a:extLst>
          </p:cNvPr>
          <p:cNvSpPr txBox="1"/>
          <p:nvPr/>
        </p:nvSpPr>
        <p:spPr>
          <a:xfrm>
            <a:off x="1755228" y="2044829"/>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Forenkle kundeoplevelsen</a:t>
            </a:r>
            <a:r>
              <a:rPr kumimoji="0" lang="da-DK" sz="1800" b="1" i="0" u="none" strike="noStrike" kern="1200" cap="none" spc="0" normalizeH="0" baseline="0" noProof="0" dirty="0">
                <a:ln>
                  <a:noFill/>
                </a:ln>
                <a:solidFill>
                  <a:srgbClr val="000000"/>
                </a:solidFill>
                <a:effectLst/>
                <a:uLnTx/>
                <a:uFillTx/>
                <a:latin typeface="COOP"/>
                <a:ea typeface="+mn-ea"/>
                <a:cs typeface="+mn-cs"/>
              </a:rPr>
              <a:t> ved at sanere i sortimentet for at gøre plads til nye varer og skabe mere plads til de vigtigste og for en bedre navigation </a:t>
            </a:r>
          </a:p>
        </p:txBody>
      </p:sp>
      <p:sp>
        <p:nvSpPr>
          <p:cNvPr id="4" name="TextBox 45">
            <a:extLst>
              <a:ext uri="{FF2B5EF4-FFF2-40B4-BE49-F238E27FC236}">
                <a16:creationId xmlns:a16="http://schemas.microsoft.com/office/drawing/2014/main" id="{DFD7A0AB-799A-2472-CFD5-C4009C3E0CD4}"/>
              </a:ext>
            </a:extLst>
          </p:cNvPr>
          <p:cNvSpPr txBox="1"/>
          <p:nvPr/>
        </p:nvSpPr>
        <p:spPr>
          <a:xfrm>
            <a:off x="1755228" y="3529226"/>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Forny og forbedre sortimentet </a:t>
            </a:r>
            <a:r>
              <a:rPr kumimoji="0" lang="da-DK" sz="1800" b="1" i="0" u="none" strike="noStrike" kern="1200" cap="none" spc="0" normalizeH="0" baseline="0" noProof="0" dirty="0">
                <a:ln>
                  <a:noFill/>
                </a:ln>
                <a:solidFill>
                  <a:srgbClr val="000000"/>
                </a:solidFill>
                <a:effectLst/>
                <a:uLnTx/>
                <a:uFillTx/>
                <a:latin typeface="COOP"/>
                <a:ea typeface="+mn-ea"/>
                <a:cs typeface="+mn-cs"/>
              </a:rPr>
              <a:t>gennem nytænkning, forenkling og innovation</a:t>
            </a:r>
          </a:p>
        </p:txBody>
      </p:sp>
      <p:sp>
        <p:nvSpPr>
          <p:cNvPr id="5" name="TextBox 46">
            <a:extLst>
              <a:ext uri="{FF2B5EF4-FFF2-40B4-BE49-F238E27FC236}">
                <a16:creationId xmlns:a16="http://schemas.microsoft.com/office/drawing/2014/main" id="{39848D3B-8A58-1F3A-9A85-5739885BF809}"/>
              </a:ext>
            </a:extLst>
          </p:cNvPr>
          <p:cNvSpPr txBox="1"/>
          <p:nvPr/>
        </p:nvSpPr>
        <p:spPr>
          <a:xfrm>
            <a:off x="1755228" y="5013621"/>
            <a:ext cx="5967744" cy="7548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C31919"/>
                </a:solidFill>
                <a:effectLst/>
                <a:uLnTx/>
                <a:uFillTx/>
                <a:latin typeface="COOP"/>
                <a:ea typeface="+mn-ea"/>
                <a:cs typeface="+mn-cs"/>
              </a:rPr>
              <a:t>Styrke Coops prisperception </a:t>
            </a:r>
            <a:r>
              <a:rPr kumimoji="0" lang="da-DK" sz="1800" b="1" i="0" u="none" strike="noStrike" kern="1200" cap="none" spc="0" normalizeH="0" baseline="0" noProof="0" dirty="0">
                <a:ln>
                  <a:noFill/>
                </a:ln>
                <a:solidFill>
                  <a:srgbClr val="000000"/>
                </a:solidFill>
                <a:effectLst/>
                <a:uLnTx/>
                <a:uFillTx/>
                <a:latin typeface="COOP"/>
                <a:ea typeface="+mn-ea"/>
                <a:cs typeface="+mn-cs"/>
              </a:rPr>
              <a:t>ved at sikre rette pristrapper, prissætning, og kampagnestrategi</a:t>
            </a:r>
          </a:p>
        </p:txBody>
      </p:sp>
      <p:cxnSp>
        <p:nvCxnSpPr>
          <p:cNvPr id="6" name="Straight Connector 78">
            <a:extLst>
              <a:ext uri="{FF2B5EF4-FFF2-40B4-BE49-F238E27FC236}">
                <a16:creationId xmlns:a16="http://schemas.microsoft.com/office/drawing/2014/main" id="{E399596D-A570-F397-EAA8-3F4088C566D6}"/>
              </a:ext>
            </a:extLst>
          </p:cNvPr>
          <p:cNvCxnSpPr/>
          <p:nvPr/>
        </p:nvCxnSpPr>
        <p:spPr>
          <a:xfrm>
            <a:off x="469900" y="3164446"/>
            <a:ext cx="7253072"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7" name="Straight Connector 80">
            <a:extLst>
              <a:ext uri="{FF2B5EF4-FFF2-40B4-BE49-F238E27FC236}">
                <a16:creationId xmlns:a16="http://schemas.microsoft.com/office/drawing/2014/main" id="{8D62A029-1056-3134-1AF2-EEB75925EC5B}"/>
              </a:ext>
            </a:extLst>
          </p:cNvPr>
          <p:cNvCxnSpPr/>
          <p:nvPr/>
        </p:nvCxnSpPr>
        <p:spPr>
          <a:xfrm>
            <a:off x="469900" y="4648843"/>
            <a:ext cx="7253072" cy="0"/>
          </a:xfrm>
          <a:prstGeom prst="line">
            <a:avLst/>
          </a:prstGeom>
          <a:ln w="9525"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grpSp>
        <p:nvGrpSpPr>
          <p:cNvPr id="8" name="bcgIcons_Cash balance ">
            <a:extLst>
              <a:ext uri="{FF2B5EF4-FFF2-40B4-BE49-F238E27FC236}">
                <a16:creationId xmlns:a16="http://schemas.microsoft.com/office/drawing/2014/main" id="{B768C851-45A3-08B1-C8EA-A96776F3ED27}"/>
              </a:ext>
            </a:extLst>
          </p:cNvPr>
          <p:cNvGrpSpPr>
            <a:grpSpLocks noChangeAspect="1"/>
          </p:cNvGrpSpPr>
          <p:nvPr/>
        </p:nvGrpSpPr>
        <p:grpSpPr>
          <a:xfrm>
            <a:off x="396330" y="4828838"/>
            <a:ext cx="1125487" cy="1124402"/>
            <a:chOff x="7915275" y="2606675"/>
            <a:chExt cx="1646238" cy="1644650"/>
          </a:xfrm>
        </p:grpSpPr>
        <p:sp>
          <p:nvSpPr>
            <p:cNvPr id="9" name="AutoShape 29">
              <a:extLst>
                <a:ext uri="{FF2B5EF4-FFF2-40B4-BE49-F238E27FC236}">
                  <a16:creationId xmlns:a16="http://schemas.microsoft.com/office/drawing/2014/main" id="{14938DA3-97F3-BC01-0273-797C22B8DEEC}"/>
                </a:ext>
              </a:extLst>
            </p:cNvPr>
            <p:cNvSpPr>
              <a:spLocks noChangeAspect="1" noChangeArrowheads="1" noTextEdit="1"/>
            </p:cNvSpPr>
            <p:nvPr/>
          </p:nvSpPr>
          <p:spPr bwMode="auto">
            <a:xfrm>
              <a:off x="79152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OP"/>
                <a:ea typeface="+mn-ea"/>
                <a:cs typeface="+mn-cs"/>
              </a:endParaRPr>
            </a:p>
          </p:txBody>
        </p:sp>
        <p:grpSp>
          <p:nvGrpSpPr>
            <p:cNvPr id="11" name="Group 12">
              <a:extLst>
                <a:ext uri="{FF2B5EF4-FFF2-40B4-BE49-F238E27FC236}">
                  <a16:creationId xmlns:a16="http://schemas.microsoft.com/office/drawing/2014/main" id="{3F271CCC-97F5-3FA5-B597-1FD5B56EA131}"/>
                </a:ext>
              </a:extLst>
            </p:cNvPr>
            <p:cNvGrpSpPr/>
            <p:nvPr/>
          </p:nvGrpSpPr>
          <p:grpSpPr>
            <a:xfrm>
              <a:off x="8069263" y="2884488"/>
              <a:ext cx="1339850" cy="1133475"/>
              <a:chOff x="8069263" y="2884488"/>
              <a:chExt cx="1339850" cy="1133475"/>
            </a:xfrm>
          </p:grpSpPr>
          <p:sp>
            <p:nvSpPr>
              <p:cNvPr id="12" name="Freeform 10">
                <a:extLst>
                  <a:ext uri="{FF2B5EF4-FFF2-40B4-BE49-F238E27FC236}">
                    <a16:creationId xmlns:a16="http://schemas.microsoft.com/office/drawing/2014/main" id="{CDE1881D-AFF2-563E-3240-B16932A80285}"/>
                  </a:ext>
                </a:extLst>
              </p:cNvPr>
              <p:cNvSpPr>
                <a:spLocks/>
              </p:cNvSpPr>
              <p:nvPr/>
            </p:nvSpPr>
            <p:spPr bwMode="auto">
              <a:xfrm>
                <a:off x="8069263" y="2884488"/>
                <a:ext cx="1339850" cy="1006475"/>
              </a:xfrm>
              <a:custGeom>
                <a:avLst/>
                <a:gdLst>
                  <a:gd name="connsiteX0" fmla="*/ 197644 w 1339850"/>
                  <a:gd name="connsiteY0" fmla="*/ 688975 h 1006475"/>
                  <a:gd name="connsiteX1" fmla="*/ 94676 w 1339850"/>
                  <a:gd name="connsiteY1" fmla="*/ 699691 h 1006475"/>
                  <a:gd name="connsiteX2" fmla="*/ 31750 w 1339850"/>
                  <a:gd name="connsiteY2" fmla="*/ 753269 h 1006475"/>
                  <a:gd name="connsiteX3" fmla="*/ 31750 w 1339850"/>
                  <a:gd name="connsiteY3" fmla="*/ 844709 h 1006475"/>
                  <a:gd name="connsiteX4" fmla="*/ 31750 w 1339850"/>
                  <a:gd name="connsiteY4" fmla="*/ 904716 h 1006475"/>
                  <a:gd name="connsiteX5" fmla="*/ 31750 w 1339850"/>
                  <a:gd name="connsiteY5" fmla="*/ 910431 h 1006475"/>
                  <a:gd name="connsiteX6" fmla="*/ 94676 w 1339850"/>
                  <a:gd name="connsiteY6" fmla="*/ 964010 h 1006475"/>
                  <a:gd name="connsiteX7" fmla="*/ 116842 w 1339850"/>
                  <a:gd name="connsiteY7" fmla="*/ 969010 h 1006475"/>
                  <a:gd name="connsiteX8" fmla="*/ 197644 w 1339850"/>
                  <a:gd name="connsiteY8" fmla="*/ 974725 h 1006475"/>
                  <a:gd name="connsiteX9" fmla="*/ 274156 w 1339850"/>
                  <a:gd name="connsiteY9" fmla="*/ 969010 h 1006475"/>
                  <a:gd name="connsiteX10" fmla="*/ 299898 w 1339850"/>
                  <a:gd name="connsiteY10" fmla="*/ 964010 h 1006475"/>
                  <a:gd name="connsiteX11" fmla="*/ 363538 w 1339850"/>
                  <a:gd name="connsiteY11" fmla="*/ 910431 h 1006475"/>
                  <a:gd name="connsiteX12" fmla="*/ 363538 w 1339850"/>
                  <a:gd name="connsiteY12" fmla="*/ 901859 h 1006475"/>
                  <a:gd name="connsiteX13" fmla="*/ 363538 w 1339850"/>
                  <a:gd name="connsiteY13" fmla="*/ 838994 h 1006475"/>
                  <a:gd name="connsiteX14" fmla="*/ 363538 w 1339850"/>
                  <a:gd name="connsiteY14" fmla="*/ 753269 h 1006475"/>
                  <a:gd name="connsiteX15" fmla="*/ 299898 w 1339850"/>
                  <a:gd name="connsiteY15" fmla="*/ 699691 h 1006475"/>
                  <a:gd name="connsiteX16" fmla="*/ 197644 w 1339850"/>
                  <a:gd name="connsiteY16" fmla="*/ 688975 h 1006475"/>
                  <a:gd name="connsiteX17" fmla="*/ 197644 w 1339850"/>
                  <a:gd name="connsiteY17" fmla="*/ 658812 h 1006475"/>
                  <a:gd name="connsiteX18" fmla="*/ 307924 w 1339850"/>
                  <a:gd name="connsiteY18" fmla="*/ 670211 h 1006475"/>
                  <a:gd name="connsiteX19" fmla="*/ 343729 w 1339850"/>
                  <a:gd name="connsiteY19" fmla="*/ 681610 h 1006475"/>
                  <a:gd name="connsiteX20" fmla="*/ 353754 w 1339850"/>
                  <a:gd name="connsiteY20" fmla="*/ 687309 h 1006475"/>
                  <a:gd name="connsiteX21" fmla="*/ 395288 w 1339850"/>
                  <a:gd name="connsiteY21" fmla="*/ 754277 h 1006475"/>
                  <a:gd name="connsiteX22" fmla="*/ 395288 w 1339850"/>
                  <a:gd name="connsiteY22" fmla="*/ 845467 h 1006475"/>
                  <a:gd name="connsiteX23" fmla="*/ 395288 w 1339850"/>
                  <a:gd name="connsiteY23" fmla="*/ 911010 h 1006475"/>
                  <a:gd name="connsiteX24" fmla="*/ 307924 w 1339850"/>
                  <a:gd name="connsiteY24" fmla="*/ 995076 h 1006475"/>
                  <a:gd name="connsiteX25" fmla="*/ 197644 w 1339850"/>
                  <a:gd name="connsiteY25" fmla="*/ 1006475 h 1006475"/>
                  <a:gd name="connsiteX26" fmla="*/ 87365 w 1339850"/>
                  <a:gd name="connsiteY26" fmla="*/ 995076 h 1006475"/>
                  <a:gd name="connsiteX27" fmla="*/ 40818 w 1339850"/>
                  <a:gd name="connsiteY27" fmla="*/ 977266 h 1006475"/>
                  <a:gd name="connsiteX28" fmla="*/ 0 w 1339850"/>
                  <a:gd name="connsiteY28" fmla="*/ 911010 h 1006475"/>
                  <a:gd name="connsiteX29" fmla="*/ 0 w 1339850"/>
                  <a:gd name="connsiteY29" fmla="*/ 851167 h 1006475"/>
                  <a:gd name="connsiteX30" fmla="*/ 0 w 1339850"/>
                  <a:gd name="connsiteY30" fmla="*/ 754277 h 1006475"/>
                  <a:gd name="connsiteX31" fmla="*/ 48695 w 1339850"/>
                  <a:gd name="connsiteY31" fmla="*/ 683747 h 1006475"/>
                  <a:gd name="connsiteX32" fmla="*/ 87365 w 1339850"/>
                  <a:gd name="connsiteY32" fmla="*/ 670211 h 1006475"/>
                  <a:gd name="connsiteX33" fmla="*/ 197644 w 1339850"/>
                  <a:gd name="connsiteY33" fmla="*/ 658812 h 1006475"/>
                  <a:gd name="connsiteX34" fmla="*/ 1142563 w 1339850"/>
                  <a:gd name="connsiteY34" fmla="*/ 490537 h 1006475"/>
                  <a:gd name="connsiteX35" fmla="*/ 1039816 w 1339850"/>
                  <a:gd name="connsiteY35" fmla="*/ 501253 h 1006475"/>
                  <a:gd name="connsiteX36" fmla="*/ 976312 w 1339850"/>
                  <a:gd name="connsiteY36" fmla="*/ 554831 h 1006475"/>
                  <a:gd name="connsiteX37" fmla="*/ 976312 w 1339850"/>
                  <a:gd name="connsiteY37" fmla="*/ 646271 h 1006475"/>
                  <a:gd name="connsiteX38" fmla="*/ 976312 w 1339850"/>
                  <a:gd name="connsiteY38" fmla="*/ 706993 h 1006475"/>
                  <a:gd name="connsiteX39" fmla="*/ 976312 w 1339850"/>
                  <a:gd name="connsiteY39" fmla="*/ 711993 h 1006475"/>
                  <a:gd name="connsiteX40" fmla="*/ 1039816 w 1339850"/>
                  <a:gd name="connsiteY40" fmla="*/ 765572 h 1006475"/>
                  <a:gd name="connsiteX41" fmla="*/ 1061935 w 1339850"/>
                  <a:gd name="connsiteY41" fmla="*/ 770572 h 1006475"/>
                  <a:gd name="connsiteX42" fmla="*/ 1142563 w 1339850"/>
                  <a:gd name="connsiteY42" fmla="*/ 776287 h 1006475"/>
                  <a:gd name="connsiteX43" fmla="*/ 1218196 w 1339850"/>
                  <a:gd name="connsiteY43" fmla="*/ 771287 h 1006475"/>
                  <a:gd name="connsiteX44" fmla="*/ 1244597 w 1339850"/>
                  <a:gd name="connsiteY44" fmla="*/ 765572 h 1006475"/>
                  <a:gd name="connsiteX45" fmla="*/ 1308100 w 1339850"/>
                  <a:gd name="connsiteY45" fmla="*/ 711993 h 1006475"/>
                  <a:gd name="connsiteX46" fmla="*/ 1308100 w 1339850"/>
                  <a:gd name="connsiteY46" fmla="*/ 704135 h 1006475"/>
                  <a:gd name="connsiteX47" fmla="*/ 1308100 w 1339850"/>
                  <a:gd name="connsiteY47" fmla="*/ 640556 h 1006475"/>
                  <a:gd name="connsiteX48" fmla="*/ 1308100 w 1339850"/>
                  <a:gd name="connsiteY48" fmla="*/ 554831 h 1006475"/>
                  <a:gd name="connsiteX49" fmla="*/ 1244597 w 1339850"/>
                  <a:gd name="connsiteY49" fmla="*/ 501253 h 1006475"/>
                  <a:gd name="connsiteX50" fmla="*/ 1142563 w 1339850"/>
                  <a:gd name="connsiteY50" fmla="*/ 490537 h 1006475"/>
                  <a:gd name="connsiteX51" fmla="*/ 1142563 w 1339850"/>
                  <a:gd name="connsiteY51" fmla="*/ 460375 h 1006475"/>
                  <a:gd name="connsiteX52" fmla="*/ 1252644 w 1339850"/>
                  <a:gd name="connsiteY52" fmla="*/ 471774 h 1006475"/>
                  <a:gd name="connsiteX53" fmla="*/ 1287669 w 1339850"/>
                  <a:gd name="connsiteY53" fmla="*/ 483173 h 1006475"/>
                  <a:gd name="connsiteX54" fmla="*/ 1298391 w 1339850"/>
                  <a:gd name="connsiteY54" fmla="*/ 488872 h 1006475"/>
                  <a:gd name="connsiteX55" fmla="*/ 1339850 w 1339850"/>
                  <a:gd name="connsiteY55" fmla="*/ 555840 h 1006475"/>
                  <a:gd name="connsiteX56" fmla="*/ 1339850 w 1339850"/>
                  <a:gd name="connsiteY56" fmla="*/ 647030 h 1006475"/>
                  <a:gd name="connsiteX57" fmla="*/ 1339850 w 1339850"/>
                  <a:gd name="connsiteY57" fmla="*/ 712573 h 1006475"/>
                  <a:gd name="connsiteX58" fmla="*/ 1252644 w 1339850"/>
                  <a:gd name="connsiteY58" fmla="*/ 796639 h 1006475"/>
                  <a:gd name="connsiteX59" fmla="*/ 1142563 w 1339850"/>
                  <a:gd name="connsiteY59" fmla="*/ 808038 h 1006475"/>
                  <a:gd name="connsiteX60" fmla="*/ 1032483 w 1339850"/>
                  <a:gd name="connsiteY60" fmla="*/ 796639 h 1006475"/>
                  <a:gd name="connsiteX61" fmla="*/ 986021 w 1339850"/>
                  <a:gd name="connsiteY61" fmla="*/ 778829 h 1006475"/>
                  <a:gd name="connsiteX62" fmla="*/ 944562 w 1339850"/>
                  <a:gd name="connsiteY62" fmla="*/ 712573 h 1006475"/>
                  <a:gd name="connsiteX63" fmla="*/ 944562 w 1339850"/>
                  <a:gd name="connsiteY63" fmla="*/ 652730 h 1006475"/>
                  <a:gd name="connsiteX64" fmla="*/ 944562 w 1339850"/>
                  <a:gd name="connsiteY64" fmla="*/ 555840 h 1006475"/>
                  <a:gd name="connsiteX65" fmla="*/ 993884 w 1339850"/>
                  <a:gd name="connsiteY65" fmla="*/ 485310 h 1006475"/>
                  <a:gd name="connsiteX66" fmla="*/ 1032483 w 1339850"/>
                  <a:gd name="connsiteY66" fmla="*/ 471774 h 1006475"/>
                  <a:gd name="connsiteX67" fmla="*/ 1142563 w 1339850"/>
                  <a:gd name="connsiteY67" fmla="*/ 460375 h 1006475"/>
                  <a:gd name="connsiteX68" fmla="*/ 558441 w 1339850"/>
                  <a:gd name="connsiteY68" fmla="*/ 93662 h 1006475"/>
                  <a:gd name="connsiteX69" fmla="*/ 557015 w 1339850"/>
                  <a:gd name="connsiteY69" fmla="*/ 114361 h 1006475"/>
                  <a:gd name="connsiteX70" fmla="*/ 557015 w 1339850"/>
                  <a:gd name="connsiteY70" fmla="*/ 126496 h 1006475"/>
                  <a:gd name="connsiteX71" fmla="*/ 411596 w 1339850"/>
                  <a:gd name="connsiteY71" fmla="*/ 168608 h 1006475"/>
                  <a:gd name="connsiteX72" fmla="*/ 562005 w 1339850"/>
                  <a:gd name="connsiteY72" fmla="*/ 147909 h 1006475"/>
                  <a:gd name="connsiteX73" fmla="*/ 576262 w 1339850"/>
                  <a:gd name="connsiteY73" fmla="*/ 177174 h 1006475"/>
                  <a:gd name="connsiteX74" fmla="*/ 217704 w 1339850"/>
                  <a:gd name="connsiteY74" fmla="*/ 226424 h 1006475"/>
                  <a:gd name="connsiteX75" fmla="*/ 364549 w 1339850"/>
                  <a:gd name="connsiteY75" fmla="*/ 647552 h 1006475"/>
                  <a:gd name="connsiteX76" fmla="*/ 368113 w 1339850"/>
                  <a:gd name="connsiteY76" fmla="*/ 658259 h 1006475"/>
                  <a:gd name="connsiteX77" fmla="*/ 329620 w 1339850"/>
                  <a:gd name="connsiteY77" fmla="*/ 641842 h 1006475"/>
                  <a:gd name="connsiteX78" fmla="*/ 196319 w 1339850"/>
                  <a:gd name="connsiteY78" fmla="*/ 261399 h 1006475"/>
                  <a:gd name="connsiteX79" fmla="*/ 63018 w 1339850"/>
                  <a:gd name="connsiteY79" fmla="*/ 643270 h 1006475"/>
                  <a:gd name="connsiteX80" fmla="*/ 23812 w 1339850"/>
                  <a:gd name="connsiteY80" fmla="*/ 660400 h 1006475"/>
                  <a:gd name="connsiteX81" fmla="*/ 28089 w 1339850"/>
                  <a:gd name="connsiteY81" fmla="*/ 647552 h 1006475"/>
                  <a:gd name="connsiteX82" fmla="*/ 182062 w 1339850"/>
                  <a:gd name="connsiteY82" fmla="*/ 208580 h 1006475"/>
                  <a:gd name="connsiteX83" fmla="*/ 182062 w 1339850"/>
                  <a:gd name="connsiteY83" fmla="*/ 207152 h 1006475"/>
                  <a:gd name="connsiteX84" fmla="*/ 182775 w 1339850"/>
                  <a:gd name="connsiteY84" fmla="*/ 205725 h 1006475"/>
                  <a:gd name="connsiteX85" fmla="*/ 183488 w 1339850"/>
                  <a:gd name="connsiteY85" fmla="*/ 205011 h 1006475"/>
                  <a:gd name="connsiteX86" fmla="*/ 184200 w 1339850"/>
                  <a:gd name="connsiteY86" fmla="*/ 203583 h 1006475"/>
                  <a:gd name="connsiteX87" fmla="*/ 184913 w 1339850"/>
                  <a:gd name="connsiteY87" fmla="*/ 202870 h 1006475"/>
                  <a:gd name="connsiteX88" fmla="*/ 186339 w 1339850"/>
                  <a:gd name="connsiteY88" fmla="*/ 201442 h 1006475"/>
                  <a:gd name="connsiteX89" fmla="*/ 187052 w 1339850"/>
                  <a:gd name="connsiteY89" fmla="*/ 200728 h 1006475"/>
                  <a:gd name="connsiteX90" fmla="*/ 189190 w 1339850"/>
                  <a:gd name="connsiteY90" fmla="*/ 200014 h 1006475"/>
                  <a:gd name="connsiteX91" fmla="*/ 189190 w 1339850"/>
                  <a:gd name="connsiteY91" fmla="*/ 199301 h 1006475"/>
                  <a:gd name="connsiteX92" fmla="*/ 192042 w 1339850"/>
                  <a:gd name="connsiteY92" fmla="*/ 198587 h 1006475"/>
                  <a:gd name="connsiteX93" fmla="*/ 558441 w 1339850"/>
                  <a:gd name="connsiteY93" fmla="*/ 93662 h 1006475"/>
                  <a:gd name="connsiteX94" fmla="*/ 1138705 w 1339850"/>
                  <a:gd name="connsiteY94" fmla="*/ 0 h 1006475"/>
                  <a:gd name="connsiteX95" fmla="*/ 1139418 w 1339850"/>
                  <a:gd name="connsiteY95" fmla="*/ 0 h 1006475"/>
                  <a:gd name="connsiteX96" fmla="*/ 1140846 w 1339850"/>
                  <a:gd name="connsiteY96" fmla="*/ 0 h 1006475"/>
                  <a:gd name="connsiteX97" fmla="*/ 1142273 w 1339850"/>
                  <a:gd name="connsiteY97" fmla="*/ 0 h 1006475"/>
                  <a:gd name="connsiteX98" fmla="*/ 1143701 w 1339850"/>
                  <a:gd name="connsiteY98" fmla="*/ 713 h 1006475"/>
                  <a:gd name="connsiteX99" fmla="*/ 1145128 w 1339850"/>
                  <a:gd name="connsiteY99" fmla="*/ 713 h 1006475"/>
                  <a:gd name="connsiteX100" fmla="*/ 1146556 w 1339850"/>
                  <a:gd name="connsiteY100" fmla="*/ 1426 h 1006475"/>
                  <a:gd name="connsiteX101" fmla="*/ 1147270 w 1339850"/>
                  <a:gd name="connsiteY101" fmla="*/ 1426 h 1006475"/>
                  <a:gd name="connsiteX102" fmla="*/ 1149411 w 1339850"/>
                  <a:gd name="connsiteY102" fmla="*/ 2851 h 1006475"/>
                  <a:gd name="connsiteX103" fmla="*/ 1151552 w 1339850"/>
                  <a:gd name="connsiteY103" fmla="*/ 4990 h 1006475"/>
                  <a:gd name="connsiteX104" fmla="*/ 1152266 w 1339850"/>
                  <a:gd name="connsiteY104" fmla="*/ 4990 h 1006475"/>
                  <a:gd name="connsiteX105" fmla="*/ 1153694 w 1339850"/>
                  <a:gd name="connsiteY105" fmla="*/ 7129 h 1006475"/>
                  <a:gd name="connsiteX106" fmla="*/ 1153694 w 1339850"/>
                  <a:gd name="connsiteY106" fmla="*/ 7842 h 1006475"/>
                  <a:gd name="connsiteX107" fmla="*/ 1155121 w 1339850"/>
                  <a:gd name="connsiteY107" fmla="*/ 9268 h 1006475"/>
                  <a:gd name="connsiteX108" fmla="*/ 1155121 w 1339850"/>
                  <a:gd name="connsiteY108" fmla="*/ 9981 h 1006475"/>
                  <a:gd name="connsiteX109" fmla="*/ 1155835 w 1339850"/>
                  <a:gd name="connsiteY109" fmla="*/ 10693 h 1006475"/>
                  <a:gd name="connsiteX110" fmla="*/ 1309293 w 1339850"/>
                  <a:gd name="connsiteY110" fmla="*/ 449843 h 1006475"/>
                  <a:gd name="connsiteX111" fmla="*/ 1312862 w 1339850"/>
                  <a:gd name="connsiteY111" fmla="*/ 459824 h 1006475"/>
                  <a:gd name="connsiteX112" fmla="*/ 1273605 w 1339850"/>
                  <a:gd name="connsiteY112" fmla="*/ 443427 h 1006475"/>
                  <a:gd name="connsiteX113" fmla="*/ 1140846 w 1339850"/>
                  <a:gd name="connsiteY113" fmla="*/ 63448 h 1006475"/>
                  <a:gd name="connsiteX114" fmla="*/ 1007373 w 1339850"/>
                  <a:gd name="connsiteY114" fmla="*/ 444853 h 1006475"/>
                  <a:gd name="connsiteX115" fmla="*/ 967402 w 1339850"/>
                  <a:gd name="connsiteY115" fmla="*/ 461963 h 1006475"/>
                  <a:gd name="connsiteX116" fmla="*/ 972399 w 1339850"/>
                  <a:gd name="connsiteY116" fmla="*/ 449843 h 1006475"/>
                  <a:gd name="connsiteX117" fmla="*/ 1115864 w 1339850"/>
                  <a:gd name="connsiteY117" fmla="*/ 39210 h 1006475"/>
                  <a:gd name="connsiteX118" fmla="*/ 778256 w 1339850"/>
                  <a:gd name="connsiteY118" fmla="*/ 136165 h 1006475"/>
                  <a:gd name="connsiteX119" fmla="*/ 779684 w 1339850"/>
                  <a:gd name="connsiteY119" fmla="*/ 109074 h 1006475"/>
                  <a:gd name="connsiteX120" fmla="*/ 779684 w 1339850"/>
                  <a:gd name="connsiteY120" fmla="*/ 102658 h 1006475"/>
                  <a:gd name="connsiteX121" fmla="*/ 925290 w 1339850"/>
                  <a:gd name="connsiteY121" fmla="*/ 61310 h 1006475"/>
                  <a:gd name="connsiteX122" fmla="*/ 774687 w 1339850"/>
                  <a:gd name="connsiteY122" fmla="*/ 81271 h 1006475"/>
                  <a:gd name="connsiteX123" fmla="*/ 760412 w 1339850"/>
                  <a:gd name="connsiteY123" fmla="*/ 52042 h 1006475"/>
                  <a:gd name="connsiteX124" fmla="*/ 1138705 w 1339850"/>
                  <a:gd name="connsiteY124" fmla="*/ 0 h 100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39850" h="1006475">
                    <a:moveTo>
                      <a:pt x="197644" y="688975"/>
                    </a:moveTo>
                    <a:cubicBezTo>
                      <a:pt x="159031" y="688975"/>
                      <a:pt x="122563" y="692547"/>
                      <a:pt x="94676" y="699691"/>
                    </a:cubicBezTo>
                    <a:cubicBezTo>
                      <a:pt x="78944" y="703263"/>
                      <a:pt x="31750" y="714693"/>
                      <a:pt x="31750" y="753269"/>
                    </a:cubicBezTo>
                    <a:cubicBezTo>
                      <a:pt x="31750" y="792560"/>
                      <a:pt x="31750" y="822563"/>
                      <a:pt x="31750" y="844709"/>
                    </a:cubicBezTo>
                    <a:cubicBezTo>
                      <a:pt x="31750" y="881856"/>
                      <a:pt x="31750" y="897573"/>
                      <a:pt x="31750" y="904716"/>
                    </a:cubicBezTo>
                    <a:cubicBezTo>
                      <a:pt x="31750" y="910431"/>
                      <a:pt x="31750" y="910431"/>
                      <a:pt x="31750" y="910431"/>
                    </a:cubicBezTo>
                    <a:cubicBezTo>
                      <a:pt x="31750" y="948293"/>
                      <a:pt x="78944" y="960438"/>
                      <a:pt x="94676" y="964010"/>
                    </a:cubicBezTo>
                    <a:cubicBezTo>
                      <a:pt x="101826" y="966153"/>
                      <a:pt x="108977" y="967581"/>
                      <a:pt x="116842" y="969010"/>
                    </a:cubicBezTo>
                    <a:cubicBezTo>
                      <a:pt x="141154" y="972582"/>
                      <a:pt x="169042" y="974725"/>
                      <a:pt x="197644" y="974725"/>
                    </a:cubicBezTo>
                    <a:cubicBezTo>
                      <a:pt x="224817" y="974725"/>
                      <a:pt x="251274" y="973296"/>
                      <a:pt x="274156" y="969010"/>
                    </a:cubicBezTo>
                    <a:cubicBezTo>
                      <a:pt x="283451" y="967581"/>
                      <a:pt x="292032" y="966153"/>
                      <a:pt x="299898" y="964010"/>
                    </a:cubicBezTo>
                    <a:cubicBezTo>
                      <a:pt x="315629" y="960438"/>
                      <a:pt x="363538" y="948293"/>
                      <a:pt x="363538" y="910431"/>
                    </a:cubicBezTo>
                    <a:lnTo>
                      <a:pt x="363538" y="901859"/>
                    </a:lnTo>
                    <a:cubicBezTo>
                      <a:pt x="363538" y="901859"/>
                      <a:pt x="363538" y="901859"/>
                      <a:pt x="363538" y="838994"/>
                    </a:cubicBezTo>
                    <a:cubicBezTo>
                      <a:pt x="363538" y="838994"/>
                      <a:pt x="363538" y="838994"/>
                      <a:pt x="363538" y="753269"/>
                    </a:cubicBezTo>
                    <a:cubicBezTo>
                      <a:pt x="363538" y="714693"/>
                      <a:pt x="315629" y="703263"/>
                      <a:pt x="299898" y="699691"/>
                    </a:cubicBezTo>
                    <a:cubicBezTo>
                      <a:pt x="272011" y="692547"/>
                      <a:pt x="235542" y="688975"/>
                      <a:pt x="197644" y="688975"/>
                    </a:cubicBezTo>
                    <a:close/>
                    <a:moveTo>
                      <a:pt x="197644" y="658812"/>
                    </a:moveTo>
                    <a:cubicBezTo>
                      <a:pt x="238462" y="658812"/>
                      <a:pt x="277848" y="663087"/>
                      <a:pt x="307924" y="670211"/>
                    </a:cubicBezTo>
                    <a:cubicBezTo>
                      <a:pt x="315801" y="671636"/>
                      <a:pt x="329407" y="674485"/>
                      <a:pt x="343729" y="681610"/>
                    </a:cubicBezTo>
                    <a:cubicBezTo>
                      <a:pt x="346593" y="683035"/>
                      <a:pt x="350174" y="685172"/>
                      <a:pt x="353754" y="687309"/>
                    </a:cubicBezTo>
                    <a:cubicBezTo>
                      <a:pt x="380966" y="702982"/>
                      <a:pt x="395288" y="726492"/>
                      <a:pt x="395288" y="754277"/>
                    </a:cubicBezTo>
                    <a:cubicBezTo>
                      <a:pt x="395288" y="793460"/>
                      <a:pt x="395288" y="823382"/>
                      <a:pt x="395288" y="845467"/>
                    </a:cubicBezTo>
                    <a:cubicBezTo>
                      <a:pt x="395288" y="911010"/>
                      <a:pt x="395288" y="911010"/>
                      <a:pt x="395288" y="911010"/>
                    </a:cubicBezTo>
                    <a:cubicBezTo>
                      <a:pt x="395288" y="939507"/>
                      <a:pt x="380250" y="977266"/>
                      <a:pt x="307924" y="995076"/>
                    </a:cubicBezTo>
                    <a:cubicBezTo>
                      <a:pt x="277848" y="1002201"/>
                      <a:pt x="238462" y="1006475"/>
                      <a:pt x="197644" y="1006475"/>
                    </a:cubicBezTo>
                    <a:cubicBezTo>
                      <a:pt x="156110" y="1006475"/>
                      <a:pt x="117441" y="1002201"/>
                      <a:pt x="87365" y="995076"/>
                    </a:cubicBezTo>
                    <a:cubicBezTo>
                      <a:pt x="78055" y="992939"/>
                      <a:pt x="58721" y="987952"/>
                      <a:pt x="40818" y="977266"/>
                    </a:cubicBezTo>
                    <a:cubicBezTo>
                      <a:pt x="15038" y="962305"/>
                      <a:pt x="0" y="938082"/>
                      <a:pt x="0" y="911010"/>
                    </a:cubicBezTo>
                    <a:cubicBezTo>
                      <a:pt x="0" y="888213"/>
                      <a:pt x="0" y="868265"/>
                      <a:pt x="0" y="851167"/>
                    </a:cubicBezTo>
                    <a:cubicBezTo>
                      <a:pt x="0" y="754277"/>
                      <a:pt x="0" y="754277"/>
                      <a:pt x="0" y="754277"/>
                    </a:cubicBezTo>
                    <a:cubicBezTo>
                      <a:pt x="0" y="731479"/>
                      <a:pt x="9310" y="702982"/>
                      <a:pt x="48695" y="683747"/>
                    </a:cubicBezTo>
                    <a:cubicBezTo>
                      <a:pt x="59437" y="678048"/>
                      <a:pt x="72326" y="673773"/>
                      <a:pt x="87365" y="670211"/>
                    </a:cubicBezTo>
                    <a:cubicBezTo>
                      <a:pt x="117441" y="663087"/>
                      <a:pt x="156110" y="658812"/>
                      <a:pt x="197644" y="658812"/>
                    </a:cubicBezTo>
                    <a:close/>
                    <a:moveTo>
                      <a:pt x="1142563" y="490537"/>
                    </a:moveTo>
                    <a:cubicBezTo>
                      <a:pt x="1104033" y="490537"/>
                      <a:pt x="1067643" y="494109"/>
                      <a:pt x="1039816" y="501253"/>
                    </a:cubicBezTo>
                    <a:cubicBezTo>
                      <a:pt x="1024118" y="504825"/>
                      <a:pt x="976312" y="516255"/>
                      <a:pt x="976312" y="554831"/>
                    </a:cubicBezTo>
                    <a:cubicBezTo>
                      <a:pt x="976312" y="594122"/>
                      <a:pt x="976312" y="624125"/>
                      <a:pt x="976312" y="646271"/>
                    </a:cubicBezTo>
                    <a:cubicBezTo>
                      <a:pt x="976312" y="683418"/>
                      <a:pt x="976312" y="699849"/>
                      <a:pt x="976312" y="706993"/>
                    </a:cubicBezTo>
                    <a:cubicBezTo>
                      <a:pt x="976312" y="711993"/>
                      <a:pt x="976312" y="711993"/>
                      <a:pt x="976312" y="711993"/>
                    </a:cubicBezTo>
                    <a:cubicBezTo>
                      <a:pt x="976312" y="749855"/>
                      <a:pt x="1024118" y="762000"/>
                      <a:pt x="1039816" y="765572"/>
                    </a:cubicBezTo>
                    <a:cubicBezTo>
                      <a:pt x="1046951" y="767715"/>
                      <a:pt x="1054086" y="769143"/>
                      <a:pt x="1061935" y="770572"/>
                    </a:cubicBezTo>
                    <a:cubicBezTo>
                      <a:pt x="1085481" y="774858"/>
                      <a:pt x="1113308" y="776287"/>
                      <a:pt x="1142563" y="776287"/>
                    </a:cubicBezTo>
                    <a:cubicBezTo>
                      <a:pt x="1169677" y="776287"/>
                      <a:pt x="1195363" y="774858"/>
                      <a:pt x="1218196" y="771287"/>
                    </a:cubicBezTo>
                    <a:cubicBezTo>
                      <a:pt x="1227472" y="769858"/>
                      <a:pt x="1236748" y="767715"/>
                      <a:pt x="1244597" y="765572"/>
                    </a:cubicBezTo>
                    <a:cubicBezTo>
                      <a:pt x="1260294" y="762000"/>
                      <a:pt x="1308100" y="749855"/>
                      <a:pt x="1308100" y="711993"/>
                    </a:cubicBezTo>
                    <a:lnTo>
                      <a:pt x="1308100" y="704135"/>
                    </a:lnTo>
                    <a:cubicBezTo>
                      <a:pt x="1308100" y="704135"/>
                      <a:pt x="1308100" y="704135"/>
                      <a:pt x="1308100" y="640556"/>
                    </a:cubicBezTo>
                    <a:cubicBezTo>
                      <a:pt x="1308100" y="640556"/>
                      <a:pt x="1308100" y="640556"/>
                      <a:pt x="1308100" y="554831"/>
                    </a:cubicBezTo>
                    <a:cubicBezTo>
                      <a:pt x="1308100" y="516255"/>
                      <a:pt x="1260294" y="504825"/>
                      <a:pt x="1244597" y="501253"/>
                    </a:cubicBezTo>
                    <a:cubicBezTo>
                      <a:pt x="1216769" y="494109"/>
                      <a:pt x="1180379" y="490537"/>
                      <a:pt x="1142563" y="490537"/>
                    </a:cubicBezTo>
                    <a:close/>
                    <a:moveTo>
                      <a:pt x="1142563" y="460375"/>
                    </a:moveTo>
                    <a:cubicBezTo>
                      <a:pt x="1183307" y="460375"/>
                      <a:pt x="1222622" y="464650"/>
                      <a:pt x="1252644" y="471774"/>
                    </a:cubicBezTo>
                    <a:cubicBezTo>
                      <a:pt x="1259792" y="473199"/>
                      <a:pt x="1273373" y="476761"/>
                      <a:pt x="1287669" y="483173"/>
                    </a:cubicBezTo>
                    <a:cubicBezTo>
                      <a:pt x="1291243" y="484598"/>
                      <a:pt x="1294817" y="486735"/>
                      <a:pt x="1298391" y="488872"/>
                    </a:cubicBezTo>
                    <a:cubicBezTo>
                      <a:pt x="1325554" y="504545"/>
                      <a:pt x="1339850" y="528055"/>
                      <a:pt x="1339850" y="555840"/>
                    </a:cubicBezTo>
                    <a:cubicBezTo>
                      <a:pt x="1339850" y="595736"/>
                      <a:pt x="1339850" y="624945"/>
                      <a:pt x="1339850" y="647030"/>
                    </a:cubicBezTo>
                    <a:cubicBezTo>
                      <a:pt x="1339850" y="712573"/>
                      <a:pt x="1339850" y="712573"/>
                      <a:pt x="1339850" y="712573"/>
                    </a:cubicBezTo>
                    <a:cubicBezTo>
                      <a:pt x="1339850" y="741070"/>
                      <a:pt x="1324839" y="778829"/>
                      <a:pt x="1252644" y="796639"/>
                    </a:cubicBezTo>
                    <a:cubicBezTo>
                      <a:pt x="1222622" y="803764"/>
                      <a:pt x="1183307" y="808038"/>
                      <a:pt x="1142563" y="808038"/>
                    </a:cubicBezTo>
                    <a:cubicBezTo>
                      <a:pt x="1101105" y="808038"/>
                      <a:pt x="1062505" y="803764"/>
                      <a:pt x="1032483" y="796639"/>
                    </a:cubicBezTo>
                    <a:cubicBezTo>
                      <a:pt x="1023191" y="794502"/>
                      <a:pt x="1003891" y="789515"/>
                      <a:pt x="986021" y="778829"/>
                    </a:cubicBezTo>
                    <a:cubicBezTo>
                      <a:pt x="959573" y="763868"/>
                      <a:pt x="944562" y="739645"/>
                      <a:pt x="944562" y="712573"/>
                    </a:cubicBezTo>
                    <a:cubicBezTo>
                      <a:pt x="944562" y="689776"/>
                      <a:pt x="944562" y="669828"/>
                      <a:pt x="944562" y="652730"/>
                    </a:cubicBezTo>
                    <a:cubicBezTo>
                      <a:pt x="944562" y="555840"/>
                      <a:pt x="944562" y="555840"/>
                      <a:pt x="944562" y="555840"/>
                    </a:cubicBezTo>
                    <a:cubicBezTo>
                      <a:pt x="944562" y="533042"/>
                      <a:pt x="953854" y="504545"/>
                      <a:pt x="993884" y="485310"/>
                    </a:cubicBezTo>
                    <a:cubicBezTo>
                      <a:pt x="1003891" y="479611"/>
                      <a:pt x="1016757" y="475336"/>
                      <a:pt x="1032483" y="471774"/>
                    </a:cubicBezTo>
                    <a:cubicBezTo>
                      <a:pt x="1062505" y="464650"/>
                      <a:pt x="1101105" y="460375"/>
                      <a:pt x="1142563" y="460375"/>
                    </a:cubicBezTo>
                    <a:close/>
                    <a:moveTo>
                      <a:pt x="558441" y="93662"/>
                    </a:moveTo>
                    <a:cubicBezTo>
                      <a:pt x="557728" y="100086"/>
                      <a:pt x="557015" y="107224"/>
                      <a:pt x="557015" y="114361"/>
                    </a:cubicBezTo>
                    <a:cubicBezTo>
                      <a:pt x="557015" y="118644"/>
                      <a:pt x="557015" y="122213"/>
                      <a:pt x="557015" y="126496"/>
                    </a:cubicBezTo>
                    <a:cubicBezTo>
                      <a:pt x="557015" y="126496"/>
                      <a:pt x="557015" y="126496"/>
                      <a:pt x="411596" y="168608"/>
                    </a:cubicBezTo>
                    <a:lnTo>
                      <a:pt x="562005" y="147909"/>
                    </a:lnTo>
                    <a:cubicBezTo>
                      <a:pt x="564857" y="158615"/>
                      <a:pt x="569846" y="168608"/>
                      <a:pt x="576262" y="177174"/>
                    </a:cubicBezTo>
                    <a:cubicBezTo>
                      <a:pt x="576262" y="177174"/>
                      <a:pt x="576262" y="177174"/>
                      <a:pt x="217704" y="226424"/>
                    </a:cubicBezTo>
                    <a:cubicBezTo>
                      <a:pt x="217704" y="226424"/>
                      <a:pt x="217704" y="226424"/>
                      <a:pt x="364549" y="647552"/>
                    </a:cubicBezTo>
                    <a:cubicBezTo>
                      <a:pt x="364549" y="647552"/>
                      <a:pt x="364549" y="647552"/>
                      <a:pt x="368113" y="658259"/>
                    </a:cubicBezTo>
                    <a:cubicBezTo>
                      <a:pt x="354569" y="650407"/>
                      <a:pt x="340312" y="645411"/>
                      <a:pt x="329620" y="641842"/>
                    </a:cubicBezTo>
                    <a:cubicBezTo>
                      <a:pt x="329620" y="641842"/>
                      <a:pt x="329620" y="641842"/>
                      <a:pt x="196319" y="261399"/>
                    </a:cubicBezTo>
                    <a:cubicBezTo>
                      <a:pt x="196319" y="261399"/>
                      <a:pt x="196319" y="261399"/>
                      <a:pt x="63018" y="643270"/>
                    </a:cubicBezTo>
                    <a:cubicBezTo>
                      <a:pt x="48048" y="647552"/>
                      <a:pt x="35217" y="653262"/>
                      <a:pt x="23812" y="660400"/>
                    </a:cubicBezTo>
                    <a:cubicBezTo>
                      <a:pt x="23812" y="660400"/>
                      <a:pt x="23812" y="660400"/>
                      <a:pt x="28089" y="647552"/>
                    </a:cubicBezTo>
                    <a:cubicBezTo>
                      <a:pt x="28089" y="647552"/>
                      <a:pt x="28089" y="647552"/>
                      <a:pt x="182062" y="208580"/>
                    </a:cubicBezTo>
                    <a:cubicBezTo>
                      <a:pt x="182062" y="207866"/>
                      <a:pt x="182062" y="207866"/>
                      <a:pt x="182062" y="207152"/>
                    </a:cubicBezTo>
                    <a:cubicBezTo>
                      <a:pt x="182062" y="207152"/>
                      <a:pt x="182775" y="206438"/>
                      <a:pt x="182775" y="205725"/>
                    </a:cubicBezTo>
                    <a:cubicBezTo>
                      <a:pt x="182775" y="205725"/>
                      <a:pt x="183488" y="205011"/>
                      <a:pt x="183488" y="205011"/>
                    </a:cubicBezTo>
                    <a:cubicBezTo>
                      <a:pt x="183488" y="204297"/>
                      <a:pt x="184200" y="204297"/>
                      <a:pt x="184200" y="203583"/>
                    </a:cubicBezTo>
                    <a:cubicBezTo>
                      <a:pt x="184913" y="203583"/>
                      <a:pt x="184913" y="202870"/>
                      <a:pt x="184913" y="202870"/>
                    </a:cubicBezTo>
                    <a:cubicBezTo>
                      <a:pt x="185626" y="202156"/>
                      <a:pt x="185626" y="202156"/>
                      <a:pt x="186339" y="201442"/>
                    </a:cubicBezTo>
                    <a:cubicBezTo>
                      <a:pt x="186339" y="201442"/>
                      <a:pt x="187052" y="201442"/>
                      <a:pt x="187052" y="200728"/>
                    </a:cubicBezTo>
                    <a:cubicBezTo>
                      <a:pt x="187765" y="200728"/>
                      <a:pt x="188477" y="200014"/>
                      <a:pt x="189190" y="200014"/>
                    </a:cubicBezTo>
                    <a:cubicBezTo>
                      <a:pt x="189190" y="200014"/>
                      <a:pt x="189190" y="199301"/>
                      <a:pt x="189190" y="199301"/>
                    </a:cubicBezTo>
                    <a:cubicBezTo>
                      <a:pt x="189903" y="199301"/>
                      <a:pt x="191329" y="198587"/>
                      <a:pt x="192042" y="198587"/>
                    </a:cubicBezTo>
                    <a:cubicBezTo>
                      <a:pt x="192042" y="198587"/>
                      <a:pt x="192042" y="198587"/>
                      <a:pt x="558441" y="93662"/>
                    </a:cubicBezTo>
                    <a:close/>
                    <a:moveTo>
                      <a:pt x="1138705" y="0"/>
                    </a:moveTo>
                    <a:cubicBezTo>
                      <a:pt x="1138705" y="0"/>
                      <a:pt x="1138705" y="0"/>
                      <a:pt x="1139418" y="0"/>
                    </a:cubicBezTo>
                    <a:cubicBezTo>
                      <a:pt x="1139418" y="0"/>
                      <a:pt x="1140132" y="0"/>
                      <a:pt x="1140846" y="0"/>
                    </a:cubicBezTo>
                    <a:cubicBezTo>
                      <a:pt x="1141560" y="0"/>
                      <a:pt x="1141560" y="0"/>
                      <a:pt x="1142273" y="0"/>
                    </a:cubicBezTo>
                    <a:cubicBezTo>
                      <a:pt x="1142987" y="0"/>
                      <a:pt x="1142987" y="713"/>
                      <a:pt x="1143701" y="713"/>
                    </a:cubicBezTo>
                    <a:cubicBezTo>
                      <a:pt x="1144415" y="713"/>
                      <a:pt x="1144415" y="713"/>
                      <a:pt x="1145128" y="713"/>
                    </a:cubicBezTo>
                    <a:cubicBezTo>
                      <a:pt x="1145128" y="713"/>
                      <a:pt x="1145842" y="1426"/>
                      <a:pt x="1146556" y="1426"/>
                    </a:cubicBezTo>
                    <a:cubicBezTo>
                      <a:pt x="1146556" y="1426"/>
                      <a:pt x="1147270" y="1426"/>
                      <a:pt x="1147270" y="1426"/>
                    </a:cubicBezTo>
                    <a:cubicBezTo>
                      <a:pt x="1147983" y="2139"/>
                      <a:pt x="1148697" y="2139"/>
                      <a:pt x="1149411" y="2851"/>
                    </a:cubicBezTo>
                    <a:cubicBezTo>
                      <a:pt x="1150125" y="3564"/>
                      <a:pt x="1150839" y="4277"/>
                      <a:pt x="1151552" y="4990"/>
                    </a:cubicBezTo>
                    <a:cubicBezTo>
                      <a:pt x="1152266" y="4990"/>
                      <a:pt x="1152266" y="4990"/>
                      <a:pt x="1152266" y="4990"/>
                    </a:cubicBezTo>
                    <a:cubicBezTo>
                      <a:pt x="1152980" y="5703"/>
                      <a:pt x="1152980" y="6416"/>
                      <a:pt x="1153694" y="7129"/>
                    </a:cubicBezTo>
                    <a:cubicBezTo>
                      <a:pt x="1153694" y="7129"/>
                      <a:pt x="1153694" y="7129"/>
                      <a:pt x="1153694" y="7842"/>
                    </a:cubicBezTo>
                    <a:cubicBezTo>
                      <a:pt x="1154407" y="7842"/>
                      <a:pt x="1154407" y="8555"/>
                      <a:pt x="1155121" y="9268"/>
                    </a:cubicBezTo>
                    <a:cubicBezTo>
                      <a:pt x="1155121" y="9268"/>
                      <a:pt x="1155121" y="9981"/>
                      <a:pt x="1155121" y="9981"/>
                    </a:cubicBezTo>
                    <a:cubicBezTo>
                      <a:pt x="1155121" y="9981"/>
                      <a:pt x="1155121" y="10693"/>
                      <a:pt x="1155835" y="10693"/>
                    </a:cubicBezTo>
                    <a:cubicBezTo>
                      <a:pt x="1155835" y="10693"/>
                      <a:pt x="1155835" y="10693"/>
                      <a:pt x="1309293" y="449843"/>
                    </a:cubicBezTo>
                    <a:cubicBezTo>
                      <a:pt x="1309293" y="449843"/>
                      <a:pt x="1309293" y="449843"/>
                      <a:pt x="1312862" y="459824"/>
                    </a:cubicBezTo>
                    <a:cubicBezTo>
                      <a:pt x="1298587" y="451982"/>
                      <a:pt x="1285025" y="446992"/>
                      <a:pt x="1273605" y="443427"/>
                    </a:cubicBezTo>
                    <a:cubicBezTo>
                      <a:pt x="1273605" y="443427"/>
                      <a:pt x="1273605" y="443427"/>
                      <a:pt x="1140846" y="63448"/>
                    </a:cubicBezTo>
                    <a:cubicBezTo>
                      <a:pt x="1140846" y="63448"/>
                      <a:pt x="1140846" y="63448"/>
                      <a:pt x="1007373" y="444853"/>
                    </a:cubicBezTo>
                    <a:cubicBezTo>
                      <a:pt x="992384" y="449843"/>
                      <a:pt x="978822" y="455547"/>
                      <a:pt x="967402" y="461963"/>
                    </a:cubicBezTo>
                    <a:cubicBezTo>
                      <a:pt x="967402" y="461963"/>
                      <a:pt x="967402" y="461963"/>
                      <a:pt x="972399" y="449843"/>
                    </a:cubicBezTo>
                    <a:cubicBezTo>
                      <a:pt x="972399" y="449843"/>
                      <a:pt x="972399" y="449843"/>
                      <a:pt x="1115864" y="39210"/>
                    </a:cubicBezTo>
                    <a:lnTo>
                      <a:pt x="778256" y="136165"/>
                    </a:lnTo>
                    <a:cubicBezTo>
                      <a:pt x="779684" y="126897"/>
                      <a:pt x="780397" y="118342"/>
                      <a:pt x="779684" y="109074"/>
                    </a:cubicBezTo>
                    <a:cubicBezTo>
                      <a:pt x="779684" y="106936"/>
                      <a:pt x="779684" y="104797"/>
                      <a:pt x="779684" y="102658"/>
                    </a:cubicBezTo>
                    <a:cubicBezTo>
                      <a:pt x="779684" y="102658"/>
                      <a:pt x="779684" y="102658"/>
                      <a:pt x="925290" y="61310"/>
                    </a:cubicBezTo>
                    <a:cubicBezTo>
                      <a:pt x="925290" y="61310"/>
                      <a:pt x="925290" y="61310"/>
                      <a:pt x="774687" y="81271"/>
                    </a:cubicBezTo>
                    <a:cubicBezTo>
                      <a:pt x="771832" y="71290"/>
                      <a:pt x="766836" y="61310"/>
                      <a:pt x="760412" y="52042"/>
                    </a:cubicBezTo>
                    <a:cubicBezTo>
                      <a:pt x="760412" y="52042"/>
                      <a:pt x="760412" y="52042"/>
                      <a:pt x="1138705"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13" name="Freeform 11">
                <a:extLst>
                  <a:ext uri="{FF2B5EF4-FFF2-40B4-BE49-F238E27FC236}">
                    <a16:creationId xmlns:a16="http://schemas.microsoft.com/office/drawing/2014/main" id="{BB3F8F1D-1437-47C2-C70A-988167D04DEC}"/>
                  </a:ext>
                </a:extLst>
              </p:cNvPr>
              <p:cNvSpPr>
                <a:spLocks/>
              </p:cNvSpPr>
              <p:nvPr/>
            </p:nvSpPr>
            <p:spPr bwMode="auto">
              <a:xfrm>
                <a:off x="8132763" y="2919413"/>
                <a:ext cx="1214437" cy="1098550"/>
              </a:xfrm>
              <a:custGeom>
                <a:avLst/>
                <a:gdLst>
                  <a:gd name="connsiteX0" fmla="*/ 0 w 1214437"/>
                  <a:gd name="connsiteY0" fmla="*/ 838200 h 1098550"/>
                  <a:gd name="connsiteX1" fmla="*/ 32213 w 1214437"/>
                  <a:gd name="connsiteY1" fmla="*/ 849722 h 1098550"/>
                  <a:gd name="connsiteX2" fmla="*/ 135295 w 1214437"/>
                  <a:gd name="connsiteY2" fmla="*/ 859803 h 1098550"/>
                  <a:gd name="connsiteX3" fmla="*/ 237662 w 1214437"/>
                  <a:gd name="connsiteY3" fmla="*/ 849722 h 1098550"/>
                  <a:gd name="connsiteX4" fmla="*/ 269875 w 1214437"/>
                  <a:gd name="connsiteY4" fmla="*/ 838200 h 1098550"/>
                  <a:gd name="connsiteX5" fmla="*/ 269875 w 1214437"/>
                  <a:gd name="connsiteY5" fmla="*/ 854762 h 1098550"/>
                  <a:gd name="connsiteX6" fmla="*/ 269875 w 1214437"/>
                  <a:gd name="connsiteY6" fmla="*/ 874205 h 1098550"/>
                  <a:gd name="connsiteX7" fmla="*/ 269875 w 1214437"/>
                  <a:gd name="connsiteY7" fmla="*/ 875645 h 1098550"/>
                  <a:gd name="connsiteX8" fmla="*/ 204017 w 1214437"/>
                  <a:gd name="connsiteY8" fmla="*/ 903730 h 1098550"/>
                  <a:gd name="connsiteX9" fmla="*/ 135295 w 1214437"/>
                  <a:gd name="connsiteY9" fmla="*/ 908050 h 1098550"/>
                  <a:gd name="connsiteX10" fmla="*/ 58699 w 1214437"/>
                  <a:gd name="connsiteY10" fmla="*/ 902289 h 1098550"/>
                  <a:gd name="connsiteX11" fmla="*/ 0 w 1214437"/>
                  <a:gd name="connsiteY11" fmla="*/ 875645 h 1098550"/>
                  <a:gd name="connsiteX12" fmla="*/ 716 w 1214437"/>
                  <a:gd name="connsiteY12" fmla="*/ 874205 h 1098550"/>
                  <a:gd name="connsiteX13" fmla="*/ 0 w 1214437"/>
                  <a:gd name="connsiteY13" fmla="*/ 874205 h 1098550"/>
                  <a:gd name="connsiteX14" fmla="*/ 0 w 1214437"/>
                  <a:gd name="connsiteY14" fmla="*/ 859803 h 1098550"/>
                  <a:gd name="connsiteX15" fmla="*/ 0 w 1214437"/>
                  <a:gd name="connsiteY15" fmla="*/ 838200 h 1098550"/>
                  <a:gd name="connsiteX16" fmla="*/ 0 w 1214437"/>
                  <a:gd name="connsiteY16" fmla="*/ 758825 h 1098550"/>
                  <a:gd name="connsiteX17" fmla="*/ 32213 w 1214437"/>
                  <a:gd name="connsiteY17" fmla="*/ 770229 h 1098550"/>
                  <a:gd name="connsiteX18" fmla="*/ 135295 w 1214437"/>
                  <a:gd name="connsiteY18" fmla="*/ 780208 h 1098550"/>
                  <a:gd name="connsiteX19" fmla="*/ 237662 w 1214437"/>
                  <a:gd name="connsiteY19" fmla="*/ 770229 h 1098550"/>
                  <a:gd name="connsiteX20" fmla="*/ 269875 w 1214437"/>
                  <a:gd name="connsiteY20" fmla="*/ 758825 h 1098550"/>
                  <a:gd name="connsiteX21" fmla="*/ 269875 w 1214437"/>
                  <a:gd name="connsiteY21" fmla="*/ 794463 h 1098550"/>
                  <a:gd name="connsiteX22" fmla="*/ 269875 w 1214437"/>
                  <a:gd name="connsiteY22" fmla="*/ 796601 h 1098550"/>
                  <a:gd name="connsiteX23" fmla="*/ 135295 w 1214437"/>
                  <a:gd name="connsiteY23" fmla="*/ 828675 h 1098550"/>
                  <a:gd name="connsiteX24" fmla="*/ 0 w 1214437"/>
                  <a:gd name="connsiteY24" fmla="*/ 796601 h 1098550"/>
                  <a:gd name="connsiteX25" fmla="*/ 716 w 1214437"/>
                  <a:gd name="connsiteY25" fmla="*/ 794463 h 1098550"/>
                  <a:gd name="connsiteX26" fmla="*/ 0 w 1214437"/>
                  <a:gd name="connsiteY26" fmla="*/ 794463 h 1098550"/>
                  <a:gd name="connsiteX27" fmla="*/ 0 w 1214437"/>
                  <a:gd name="connsiteY27" fmla="*/ 758825 h 1098550"/>
                  <a:gd name="connsiteX28" fmla="*/ 135295 w 1214437"/>
                  <a:gd name="connsiteY28" fmla="*/ 685800 h 1098550"/>
                  <a:gd name="connsiteX29" fmla="*/ 269875 w 1214437"/>
                  <a:gd name="connsiteY29" fmla="*/ 717907 h 1098550"/>
                  <a:gd name="connsiteX30" fmla="*/ 135295 w 1214437"/>
                  <a:gd name="connsiteY30" fmla="*/ 749300 h 1098550"/>
                  <a:gd name="connsiteX31" fmla="*/ 0 w 1214437"/>
                  <a:gd name="connsiteY31" fmla="*/ 717907 h 1098550"/>
                  <a:gd name="connsiteX32" fmla="*/ 135295 w 1214437"/>
                  <a:gd name="connsiteY32" fmla="*/ 685800 h 1098550"/>
                  <a:gd name="connsiteX33" fmla="*/ 944562 w 1214437"/>
                  <a:gd name="connsiteY33" fmla="*/ 639762 h 1098550"/>
                  <a:gd name="connsiteX34" fmla="*/ 976861 w 1214437"/>
                  <a:gd name="connsiteY34" fmla="*/ 651284 h 1098550"/>
                  <a:gd name="connsiteX35" fmla="*/ 1079499 w 1214437"/>
                  <a:gd name="connsiteY35" fmla="*/ 661365 h 1098550"/>
                  <a:gd name="connsiteX36" fmla="*/ 1182138 w 1214437"/>
                  <a:gd name="connsiteY36" fmla="*/ 651284 h 1098550"/>
                  <a:gd name="connsiteX37" fmla="*/ 1214437 w 1214437"/>
                  <a:gd name="connsiteY37" fmla="*/ 639762 h 1098550"/>
                  <a:gd name="connsiteX38" fmla="*/ 1214437 w 1214437"/>
                  <a:gd name="connsiteY38" fmla="*/ 656324 h 1098550"/>
                  <a:gd name="connsiteX39" fmla="*/ 1214437 w 1214437"/>
                  <a:gd name="connsiteY39" fmla="*/ 675767 h 1098550"/>
                  <a:gd name="connsiteX40" fmla="*/ 1214437 w 1214437"/>
                  <a:gd name="connsiteY40" fmla="*/ 677207 h 1098550"/>
                  <a:gd name="connsiteX41" fmla="*/ 1148404 w 1214437"/>
                  <a:gd name="connsiteY41" fmla="*/ 705292 h 1098550"/>
                  <a:gd name="connsiteX42" fmla="*/ 1079499 w 1214437"/>
                  <a:gd name="connsiteY42" fmla="*/ 709612 h 1098550"/>
                  <a:gd name="connsiteX43" fmla="*/ 1002700 w 1214437"/>
                  <a:gd name="connsiteY43" fmla="*/ 703851 h 1098550"/>
                  <a:gd name="connsiteX44" fmla="*/ 944562 w 1214437"/>
                  <a:gd name="connsiteY44" fmla="*/ 677207 h 1098550"/>
                  <a:gd name="connsiteX45" fmla="*/ 945280 w 1214437"/>
                  <a:gd name="connsiteY45" fmla="*/ 675767 h 1098550"/>
                  <a:gd name="connsiteX46" fmla="*/ 944562 w 1214437"/>
                  <a:gd name="connsiteY46" fmla="*/ 675767 h 1098550"/>
                  <a:gd name="connsiteX47" fmla="*/ 944562 w 1214437"/>
                  <a:gd name="connsiteY47" fmla="*/ 661365 h 1098550"/>
                  <a:gd name="connsiteX48" fmla="*/ 944562 w 1214437"/>
                  <a:gd name="connsiteY48" fmla="*/ 639762 h 1098550"/>
                  <a:gd name="connsiteX49" fmla="*/ 944562 w 1214437"/>
                  <a:gd name="connsiteY49" fmla="*/ 560387 h 1098550"/>
                  <a:gd name="connsiteX50" fmla="*/ 976861 w 1214437"/>
                  <a:gd name="connsiteY50" fmla="*/ 571791 h 1098550"/>
                  <a:gd name="connsiteX51" fmla="*/ 1079499 w 1214437"/>
                  <a:gd name="connsiteY51" fmla="*/ 581770 h 1098550"/>
                  <a:gd name="connsiteX52" fmla="*/ 1182138 w 1214437"/>
                  <a:gd name="connsiteY52" fmla="*/ 571791 h 1098550"/>
                  <a:gd name="connsiteX53" fmla="*/ 1214437 w 1214437"/>
                  <a:gd name="connsiteY53" fmla="*/ 560387 h 1098550"/>
                  <a:gd name="connsiteX54" fmla="*/ 1214437 w 1214437"/>
                  <a:gd name="connsiteY54" fmla="*/ 596025 h 1098550"/>
                  <a:gd name="connsiteX55" fmla="*/ 1214437 w 1214437"/>
                  <a:gd name="connsiteY55" fmla="*/ 598163 h 1098550"/>
                  <a:gd name="connsiteX56" fmla="*/ 1079499 w 1214437"/>
                  <a:gd name="connsiteY56" fmla="*/ 630237 h 1098550"/>
                  <a:gd name="connsiteX57" fmla="*/ 944562 w 1214437"/>
                  <a:gd name="connsiteY57" fmla="*/ 598163 h 1098550"/>
                  <a:gd name="connsiteX58" fmla="*/ 945280 w 1214437"/>
                  <a:gd name="connsiteY58" fmla="*/ 596025 h 1098550"/>
                  <a:gd name="connsiteX59" fmla="*/ 944562 w 1214437"/>
                  <a:gd name="connsiteY59" fmla="*/ 596025 h 1098550"/>
                  <a:gd name="connsiteX60" fmla="*/ 944562 w 1214437"/>
                  <a:gd name="connsiteY60" fmla="*/ 560387 h 1098550"/>
                  <a:gd name="connsiteX61" fmla="*/ 1079499 w 1214437"/>
                  <a:gd name="connsiteY61" fmla="*/ 487362 h 1098550"/>
                  <a:gd name="connsiteX62" fmla="*/ 1214437 w 1214437"/>
                  <a:gd name="connsiteY62" fmla="*/ 519469 h 1098550"/>
                  <a:gd name="connsiteX63" fmla="*/ 1079499 w 1214437"/>
                  <a:gd name="connsiteY63" fmla="*/ 550862 h 1098550"/>
                  <a:gd name="connsiteX64" fmla="*/ 944562 w 1214437"/>
                  <a:gd name="connsiteY64" fmla="*/ 519469 h 1098550"/>
                  <a:gd name="connsiteX65" fmla="*/ 1079499 w 1214437"/>
                  <a:gd name="connsiteY65" fmla="*/ 487362 h 1098550"/>
                  <a:gd name="connsiteX66" fmla="*/ 605273 w 1214437"/>
                  <a:gd name="connsiteY66" fmla="*/ 0 h 1098550"/>
                  <a:gd name="connsiteX67" fmla="*/ 610278 w 1214437"/>
                  <a:gd name="connsiteY67" fmla="*/ 0 h 1098550"/>
                  <a:gd name="connsiteX68" fmla="*/ 659612 w 1214437"/>
                  <a:gd name="connsiteY68" fmla="*/ 21428 h 1098550"/>
                  <a:gd name="connsiteX69" fmla="*/ 679632 w 1214437"/>
                  <a:gd name="connsiteY69" fmla="*/ 49999 h 1098550"/>
                  <a:gd name="connsiteX70" fmla="*/ 684636 w 1214437"/>
                  <a:gd name="connsiteY70" fmla="*/ 74998 h 1098550"/>
                  <a:gd name="connsiteX71" fmla="*/ 684636 w 1214437"/>
                  <a:gd name="connsiteY71" fmla="*/ 76427 h 1098550"/>
                  <a:gd name="connsiteX72" fmla="*/ 678202 w 1214437"/>
                  <a:gd name="connsiteY72" fmla="*/ 110712 h 1098550"/>
                  <a:gd name="connsiteX73" fmla="*/ 646027 w 1214437"/>
                  <a:gd name="connsiteY73" fmla="*/ 147854 h 1098550"/>
                  <a:gd name="connsiteX74" fmla="*/ 646027 w 1214437"/>
                  <a:gd name="connsiteY74" fmla="*/ 987838 h 1098550"/>
                  <a:gd name="connsiteX75" fmla="*/ 658182 w 1214437"/>
                  <a:gd name="connsiteY75" fmla="*/ 1002838 h 1098550"/>
                  <a:gd name="connsiteX76" fmla="*/ 915575 w 1214437"/>
                  <a:gd name="connsiteY76" fmla="*/ 1067837 h 1098550"/>
                  <a:gd name="connsiteX77" fmla="*/ 912001 w 1214437"/>
                  <a:gd name="connsiteY77" fmla="*/ 1098550 h 1098550"/>
                  <a:gd name="connsiteX78" fmla="*/ 299261 w 1214437"/>
                  <a:gd name="connsiteY78" fmla="*/ 1098550 h 1098550"/>
                  <a:gd name="connsiteX79" fmla="*/ 295687 w 1214437"/>
                  <a:gd name="connsiteY79" fmla="*/ 1067837 h 1098550"/>
                  <a:gd name="connsiteX80" fmla="*/ 556655 w 1214437"/>
                  <a:gd name="connsiteY80" fmla="*/ 1002838 h 1098550"/>
                  <a:gd name="connsiteX81" fmla="*/ 568809 w 1214437"/>
                  <a:gd name="connsiteY81" fmla="*/ 987838 h 1098550"/>
                  <a:gd name="connsiteX82" fmla="*/ 568809 w 1214437"/>
                  <a:gd name="connsiteY82" fmla="*/ 149997 h 1098550"/>
                  <a:gd name="connsiteX83" fmla="*/ 550935 w 1214437"/>
                  <a:gd name="connsiteY83" fmla="*/ 137140 h 1098550"/>
                  <a:gd name="connsiteX84" fmla="*/ 530915 w 1214437"/>
                  <a:gd name="connsiteY84" fmla="*/ 108569 h 1098550"/>
                  <a:gd name="connsiteX85" fmla="*/ 525911 w 1214437"/>
                  <a:gd name="connsiteY85" fmla="*/ 82855 h 1098550"/>
                  <a:gd name="connsiteX86" fmla="*/ 525911 w 1214437"/>
                  <a:gd name="connsiteY86" fmla="*/ 79284 h 1098550"/>
                  <a:gd name="connsiteX87" fmla="*/ 531630 w 1214437"/>
                  <a:gd name="connsiteY87" fmla="*/ 47856 h 1098550"/>
                  <a:gd name="connsiteX88" fmla="*/ 605273 w 1214437"/>
                  <a:gd name="connsiteY88"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214437" h="1098550">
                    <a:moveTo>
                      <a:pt x="0" y="838200"/>
                    </a:moveTo>
                    <a:cubicBezTo>
                      <a:pt x="8590" y="842521"/>
                      <a:pt x="19328" y="846121"/>
                      <a:pt x="32213" y="849722"/>
                    </a:cubicBezTo>
                    <a:cubicBezTo>
                      <a:pt x="60131" y="856203"/>
                      <a:pt x="96639" y="859803"/>
                      <a:pt x="135295" y="859803"/>
                    </a:cubicBezTo>
                    <a:cubicBezTo>
                      <a:pt x="173235" y="859803"/>
                      <a:pt x="209743" y="856203"/>
                      <a:pt x="237662" y="849722"/>
                    </a:cubicBezTo>
                    <a:cubicBezTo>
                      <a:pt x="250547" y="846121"/>
                      <a:pt x="261285" y="842521"/>
                      <a:pt x="269875" y="838200"/>
                    </a:cubicBezTo>
                    <a:cubicBezTo>
                      <a:pt x="269875" y="844681"/>
                      <a:pt x="269875" y="850442"/>
                      <a:pt x="269875" y="854762"/>
                    </a:cubicBezTo>
                    <a:cubicBezTo>
                      <a:pt x="269875" y="874205"/>
                      <a:pt x="269875" y="874205"/>
                      <a:pt x="269875" y="874205"/>
                    </a:cubicBezTo>
                    <a:cubicBezTo>
                      <a:pt x="269875" y="874205"/>
                      <a:pt x="269875" y="874925"/>
                      <a:pt x="269875" y="875645"/>
                    </a:cubicBezTo>
                    <a:cubicBezTo>
                      <a:pt x="268443" y="887887"/>
                      <a:pt x="242673" y="897969"/>
                      <a:pt x="204017" y="903730"/>
                    </a:cubicBezTo>
                    <a:cubicBezTo>
                      <a:pt x="183973" y="906610"/>
                      <a:pt x="160350" y="908050"/>
                      <a:pt x="135295" y="908050"/>
                    </a:cubicBezTo>
                    <a:cubicBezTo>
                      <a:pt x="106661" y="908050"/>
                      <a:pt x="80175" y="905890"/>
                      <a:pt x="58699" y="902289"/>
                    </a:cubicBezTo>
                    <a:cubicBezTo>
                      <a:pt x="24339" y="896528"/>
                      <a:pt x="716" y="886447"/>
                      <a:pt x="0" y="875645"/>
                    </a:cubicBezTo>
                    <a:cubicBezTo>
                      <a:pt x="0" y="874925"/>
                      <a:pt x="0" y="874205"/>
                      <a:pt x="716" y="874205"/>
                    </a:cubicBezTo>
                    <a:cubicBezTo>
                      <a:pt x="0" y="874205"/>
                      <a:pt x="0" y="874205"/>
                      <a:pt x="0" y="874205"/>
                    </a:cubicBezTo>
                    <a:cubicBezTo>
                      <a:pt x="0" y="868444"/>
                      <a:pt x="0" y="864124"/>
                      <a:pt x="0" y="859803"/>
                    </a:cubicBezTo>
                    <a:cubicBezTo>
                      <a:pt x="0" y="838200"/>
                      <a:pt x="0" y="838200"/>
                      <a:pt x="0" y="838200"/>
                    </a:cubicBezTo>
                    <a:close/>
                    <a:moveTo>
                      <a:pt x="0" y="758825"/>
                    </a:moveTo>
                    <a:cubicBezTo>
                      <a:pt x="8590" y="763102"/>
                      <a:pt x="19328" y="766665"/>
                      <a:pt x="32213" y="770229"/>
                    </a:cubicBezTo>
                    <a:cubicBezTo>
                      <a:pt x="60131" y="776644"/>
                      <a:pt x="96639" y="780208"/>
                      <a:pt x="135295" y="780208"/>
                    </a:cubicBezTo>
                    <a:cubicBezTo>
                      <a:pt x="173235" y="780208"/>
                      <a:pt x="209743" y="776644"/>
                      <a:pt x="237662" y="770229"/>
                    </a:cubicBezTo>
                    <a:cubicBezTo>
                      <a:pt x="250547" y="766665"/>
                      <a:pt x="261285" y="763102"/>
                      <a:pt x="269875" y="758825"/>
                    </a:cubicBezTo>
                    <a:cubicBezTo>
                      <a:pt x="269875" y="794463"/>
                      <a:pt x="269875" y="794463"/>
                      <a:pt x="269875" y="794463"/>
                    </a:cubicBezTo>
                    <a:cubicBezTo>
                      <a:pt x="269875" y="795176"/>
                      <a:pt x="269875" y="795888"/>
                      <a:pt x="269875" y="796601"/>
                    </a:cubicBezTo>
                    <a:cubicBezTo>
                      <a:pt x="269875" y="814420"/>
                      <a:pt x="209743" y="828675"/>
                      <a:pt x="135295" y="828675"/>
                    </a:cubicBezTo>
                    <a:cubicBezTo>
                      <a:pt x="60847" y="828675"/>
                      <a:pt x="0" y="814420"/>
                      <a:pt x="0" y="796601"/>
                    </a:cubicBezTo>
                    <a:cubicBezTo>
                      <a:pt x="0" y="795888"/>
                      <a:pt x="0" y="795176"/>
                      <a:pt x="716" y="794463"/>
                    </a:cubicBezTo>
                    <a:cubicBezTo>
                      <a:pt x="0" y="794463"/>
                      <a:pt x="0" y="794463"/>
                      <a:pt x="0" y="794463"/>
                    </a:cubicBezTo>
                    <a:cubicBezTo>
                      <a:pt x="0" y="758825"/>
                      <a:pt x="0" y="758825"/>
                      <a:pt x="0" y="758825"/>
                    </a:cubicBezTo>
                    <a:close/>
                    <a:moveTo>
                      <a:pt x="135295" y="685800"/>
                    </a:moveTo>
                    <a:cubicBezTo>
                      <a:pt x="208312" y="685800"/>
                      <a:pt x="268443" y="700070"/>
                      <a:pt x="269875" y="717907"/>
                    </a:cubicBezTo>
                    <a:cubicBezTo>
                      <a:pt x="268443" y="735030"/>
                      <a:pt x="208312" y="749300"/>
                      <a:pt x="135295" y="749300"/>
                    </a:cubicBezTo>
                    <a:cubicBezTo>
                      <a:pt x="61563" y="749300"/>
                      <a:pt x="2147" y="735030"/>
                      <a:pt x="0" y="717907"/>
                    </a:cubicBezTo>
                    <a:cubicBezTo>
                      <a:pt x="2147" y="700070"/>
                      <a:pt x="61563" y="685800"/>
                      <a:pt x="135295" y="685800"/>
                    </a:cubicBezTo>
                    <a:close/>
                    <a:moveTo>
                      <a:pt x="944562" y="639762"/>
                    </a:moveTo>
                    <a:cubicBezTo>
                      <a:pt x="953175" y="644083"/>
                      <a:pt x="963941" y="647683"/>
                      <a:pt x="976861" y="651284"/>
                    </a:cubicBezTo>
                    <a:cubicBezTo>
                      <a:pt x="1004135" y="657765"/>
                      <a:pt x="1040741" y="661365"/>
                      <a:pt x="1079499" y="661365"/>
                    </a:cubicBezTo>
                    <a:cubicBezTo>
                      <a:pt x="1117540" y="661365"/>
                      <a:pt x="1154146" y="657765"/>
                      <a:pt x="1182138" y="651284"/>
                    </a:cubicBezTo>
                    <a:cubicBezTo>
                      <a:pt x="1195058" y="647683"/>
                      <a:pt x="1205824" y="644083"/>
                      <a:pt x="1214437" y="639762"/>
                    </a:cubicBezTo>
                    <a:cubicBezTo>
                      <a:pt x="1214437" y="646963"/>
                      <a:pt x="1214437" y="652004"/>
                      <a:pt x="1214437" y="656324"/>
                    </a:cubicBezTo>
                    <a:cubicBezTo>
                      <a:pt x="1214437" y="675767"/>
                      <a:pt x="1214437" y="675767"/>
                      <a:pt x="1214437" y="675767"/>
                    </a:cubicBezTo>
                    <a:cubicBezTo>
                      <a:pt x="1214437" y="675767"/>
                      <a:pt x="1214437" y="676487"/>
                      <a:pt x="1214437" y="677207"/>
                    </a:cubicBezTo>
                    <a:cubicBezTo>
                      <a:pt x="1213719" y="689449"/>
                      <a:pt x="1187162" y="699531"/>
                      <a:pt x="1148404" y="705292"/>
                    </a:cubicBezTo>
                    <a:cubicBezTo>
                      <a:pt x="1128307" y="708172"/>
                      <a:pt x="1104621" y="709612"/>
                      <a:pt x="1079499" y="709612"/>
                    </a:cubicBezTo>
                    <a:cubicBezTo>
                      <a:pt x="1051507" y="709612"/>
                      <a:pt x="1024950" y="707452"/>
                      <a:pt x="1002700" y="703851"/>
                    </a:cubicBezTo>
                    <a:cubicBezTo>
                      <a:pt x="968248" y="698090"/>
                      <a:pt x="945280" y="688729"/>
                      <a:pt x="944562" y="677207"/>
                    </a:cubicBezTo>
                    <a:cubicBezTo>
                      <a:pt x="944562" y="676487"/>
                      <a:pt x="944562" y="675767"/>
                      <a:pt x="945280" y="675767"/>
                    </a:cubicBezTo>
                    <a:cubicBezTo>
                      <a:pt x="944562" y="675767"/>
                      <a:pt x="944562" y="675767"/>
                      <a:pt x="944562" y="675767"/>
                    </a:cubicBezTo>
                    <a:cubicBezTo>
                      <a:pt x="944562" y="670006"/>
                      <a:pt x="944562" y="665686"/>
                      <a:pt x="944562" y="661365"/>
                    </a:cubicBezTo>
                    <a:cubicBezTo>
                      <a:pt x="944562" y="639762"/>
                      <a:pt x="944562" y="639762"/>
                      <a:pt x="944562" y="639762"/>
                    </a:cubicBezTo>
                    <a:close/>
                    <a:moveTo>
                      <a:pt x="944562" y="560387"/>
                    </a:moveTo>
                    <a:cubicBezTo>
                      <a:pt x="953175" y="564664"/>
                      <a:pt x="963941" y="568227"/>
                      <a:pt x="976861" y="571791"/>
                    </a:cubicBezTo>
                    <a:cubicBezTo>
                      <a:pt x="1004135" y="578206"/>
                      <a:pt x="1040741" y="581770"/>
                      <a:pt x="1079499" y="581770"/>
                    </a:cubicBezTo>
                    <a:cubicBezTo>
                      <a:pt x="1117540" y="581770"/>
                      <a:pt x="1154146" y="578206"/>
                      <a:pt x="1182138" y="571791"/>
                    </a:cubicBezTo>
                    <a:cubicBezTo>
                      <a:pt x="1195058" y="568227"/>
                      <a:pt x="1205824" y="564664"/>
                      <a:pt x="1214437" y="560387"/>
                    </a:cubicBezTo>
                    <a:cubicBezTo>
                      <a:pt x="1214437" y="596025"/>
                      <a:pt x="1214437" y="596025"/>
                      <a:pt x="1214437" y="596025"/>
                    </a:cubicBezTo>
                    <a:cubicBezTo>
                      <a:pt x="1214437" y="596738"/>
                      <a:pt x="1214437" y="597450"/>
                      <a:pt x="1214437" y="598163"/>
                    </a:cubicBezTo>
                    <a:cubicBezTo>
                      <a:pt x="1214437" y="615982"/>
                      <a:pt x="1154146" y="630237"/>
                      <a:pt x="1079499" y="630237"/>
                    </a:cubicBezTo>
                    <a:cubicBezTo>
                      <a:pt x="1004853" y="630237"/>
                      <a:pt x="944562" y="615982"/>
                      <a:pt x="944562" y="598163"/>
                    </a:cubicBezTo>
                    <a:cubicBezTo>
                      <a:pt x="944562" y="597450"/>
                      <a:pt x="944562" y="596738"/>
                      <a:pt x="945280" y="596025"/>
                    </a:cubicBezTo>
                    <a:cubicBezTo>
                      <a:pt x="944562" y="596025"/>
                      <a:pt x="944562" y="596025"/>
                      <a:pt x="944562" y="596025"/>
                    </a:cubicBezTo>
                    <a:cubicBezTo>
                      <a:pt x="944562" y="560387"/>
                      <a:pt x="944562" y="560387"/>
                      <a:pt x="944562" y="560387"/>
                    </a:cubicBezTo>
                    <a:close/>
                    <a:moveTo>
                      <a:pt x="1079499" y="487362"/>
                    </a:moveTo>
                    <a:cubicBezTo>
                      <a:pt x="1152710" y="487362"/>
                      <a:pt x="1213001" y="501632"/>
                      <a:pt x="1214437" y="519469"/>
                    </a:cubicBezTo>
                    <a:cubicBezTo>
                      <a:pt x="1213001" y="536592"/>
                      <a:pt x="1152710" y="550862"/>
                      <a:pt x="1079499" y="550862"/>
                    </a:cubicBezTo>
                    <a:cubicBezTo>
                      <a:pt x="1005571" y="550862"/>
                      <a:pt x="946715" y="536592"/>
                      <a:pt x="944562" y="519469"/>
                    </a:cubicBezTo>
                    <a:cubicBezTo>
                      <a:pt x="946715" y="501632"/>
                      <a:pt x="1005571" y="487362"/>
                      <a:pt x="1079499" y="487362"/>
                    </a:cubicBezTo>
                    <a:close/>
                    <a:moveTo>
                      <a:pt x="605273" y="0"/>
                    </a:moveTo>
                    <a:cubicBezTo>
                      <a:pt x="606703" y="0"/>
                      <a:pt x="608848" y="0"/>
                      <a:pt x="610278" y="0"/>
                    </a:cubicBezTo>
                    <a:cubicBezTo>
                      <a:pt x="629583" y="1428"/>
                      <a:pt x="646742" y="9285"/>
                      <a:pt x="659612" y="21428"/>
                    </a:cubicBezTo>
                    <a:cubicBezTo>
                      <a:pt x="668192" y="29285"/>
                      <a:pt x="675342" y="39285"/>
                      <a:pt x="679632" y="49999"/>
                    </a:cubicBezTo>
                    <a:cubicBezTo>
                      <a:pt x="682491" y="57856"/>
                      <a:pt x="684636" y="66427"/>
                      <a:pt x="684636" y="74998"/>
                    </a:cubicBezTo>
                    <a:cubicBezTo>
                      <a:pt x="684636" y="75713"/>
                      <a:pt x="684636" y="75713"/>
                      <a:pt x="684636" y="76427"/>
                    </a:cubicBezTo>
                    <a:cubicBezTo>
                      <a:pt x="685351" y="88570"/>
                      <a:pt x="683207" y="99998"/>
                      <a:pt x="678202" y="110712"/>
                    </a:cubicBezTo>
                    <a:cubicBezTo>
                      <a:pt x="671767" y="126426"/>
                      <a:pt x="660327" y="139283"/>
                      <a:pt x="646027" y="147854"/>
                    </a:cubicBezTo>
                    <a:cubicBezTo>
                      <a:pt x="646027" y="147854"/>
                      <a:pt x="646027" y="147854"/>
                      <a:pt x="646027" y="987838"/>
                    </a:cubicBezTo>
                    <a:cubicBezTo>
                      <a:pt x="646027" y="994981"/>
                      <a:pt x="651032" y="1001409"/>
                      <a:pt x="658182" y="1002838"/>
                    </a:cubicBezTo>
                    <a:cubicBezTo>
                      <a:pt x="658182" y="1002838"/>
                      <a:pt x="658182" y="1002838"/>
                      <a:pt x="915575" y="1067837"/>
                    </a:cubicBezTo>
                    <a:cubicBezTo>
                      <a:pt x="933450" y="1072122"/>
                      <a:pt x="930590" y="1098550"/>
                      <a:pt x="912001" y="1098550"/>
                    </a:cubicBezTo>
                    <a:cubicBezTo>
                      <a:pt x="912001" y="1098550"/>
                      <a:pt x="912001" y="1098550"/>
                      <a:pt x="299261" y="1098550"/>
                    </a:cubicBezTo>
                    <a:cubicBezTo>
                      <a:pt x="280672" y="1098550"/>
                      <a:pt x="277812" y="1072122"/>
                      <a:pt x="295687" y="1067837"/>
                    </a:cubicBezTo>
                    <a:cubicBezTo>
                      <a:pt x="295687" y="1067837"/>
                      <a:pt x="295687" y="1067837"/>
                      <a:pt x="556655" y="1002838"/>
                    </a:cubicBezTo>
                    <a:cubicBezTo>
                      <a:pt x="563805" y="1001409"/>
                      <a:pt x="568809" y="994981"/>
                      <a:pt x="568809" y="987838"/>
                    </a:cubicBezTo>
                    <a:cubicBezTo>
                      <a:pt x="568809" y="987838"/>
                      <a:pt x="568809" y="987838"/>
                      <a:pt x="568809" y="149997"/>
                    </a:cubicBezTo>
                    <a:cubicBezTo>
                      <a:pt x="562375" y="147140"/>
                      <a:pt x="555940" y="142140"/>
                      <a:pt x="550935" y="137140"/>
                    </a:cubicBezTo>
                    <a:cubicBezTo>
                      <a:pt x="542355" y="129283"/>
                      <a:pt x="535205" y="119283"/>
                      <a:pt x="530915" y="108569"/>
                    </a:cubicBezTo>
                    <a:cubicBezTo>
                      <a:pt x="528056" y="100712"/>
                      <a:pt x="525911" y="91427"/>
                      <a:pt x="525911" y="82855"/>
                    </a:cubicBezTo>
                    <a:cubicBezTo>
                      <a:pt x="525911" y="81427"/>
                      <a:pt x="525911" y="80713"/>
                      <a:pt x="525911" y="79284"/>
                    </a:cubicBezTo>
                    <a:cubicBezTo>
                      <a:pt x="525911" y="68570"/>
                      <a:pt x="528056" y="57856"/>
                      <a:pt x="531630" y="47856"/>
                    </a:cubicBezTo>
                    <a:cubicBezTo>
                      <a:pt x="543785" y="19999"/>
                      <a:pt x="572384" y="0"/>
                      <a:pt x="60527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grpSp>
      <p:grpSp>
        <p:nvGrpSpPr>
          <p:cNvPr id="14" name="bcgIcons_Stock Out 1 ">
            <a:extLst>
              <a:ext uri="{FF2B5EF4-FFF2-40B4-BE49-F238E27FC236}">
                <a16:creationId xmlns:a16="http://schemas.microsoft.com/office/drawing/2014/main" id="{BBA9A09B-AEAA-1A92-AF11-427A02FAB156}"/>
              </a:ext>
            </a:extLst>
          </p:cNvPr>
          <p:cNvGrpSpPr>
            <a:grpSpLocks noChangeAspect="1"/>
          </p:cNvGrpSpPr>
          <p:nvPr/>
        </p:nvGrpSpPr>
        <p:grpSpPr>
          <a:xfrm>
            <a:off x="396331" y="3344444"/>
            <a:ext cx="1124402" cy="1124402"/>
            <a:chOff x="5272882" y="2570163"/>
            <a:chExt cx="1646237" cy="1646237"/>
          </a:xfrm>
        </p:grpSpPr>
        <p:sp>
          <p:nvSpPr>
            <p:cNvPr id="15" name="AutoShape 43">
              <a:extLst>
                <a:ext uri="{FF2B5EF4-FFF2-40B4-BE49-F238E27FC236}">
                  <a16:creationId xmlns:a16="http://schemas.microsoft.com/office/drawing/2014/main" id="{8929CDCD-435F-D843-B47F-82C5AFB563A0}"/>
                </a:ext>
              </a:extLst>
            </p:cNvPr>
            <p:cNvSpPr>
              <a:spLocks noChangeAspect="1" noChangeArrowheads="1" noTextEdit="1"/>
            </p:cNvSpPr>
            <p:nvPr/>
          </p:nvSpPr>
          <p:spPr bwMode="auto">
            <a:xfrm>
              <a:off x="5272882" y="2570163"/>
              <a:ext cx="1646237"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nvGrpSpPr>
            <p:cNvPr id="16" name="Group 17">
              <a:extLst>
                <a:ext uri="{FF2B5EF4-FFF2-40B4-BE49-F238E27FC236}">
                  <a16:creationId xmlns:a16="http://schemas.microsoft.com/office/drawing/2014/main" id="{FB6218B4-D382-AD72-E7F8-BCA97B42301D}"/>
                </a:ext>
              </a:extLst>
            </p:cNvPr>
            <p:cNvGrpSpPr/>
            <p:nvPr/>
          </p:nvGrpSpPr>
          <p:grpSpPr>
            <a:xfrm>
              <a:off x="5442744" y="2844800"/>
              <a:ext cx="1277938" cy="1098550"/>
              <a:chOff x="5442744" y="2844800"/>
              <a:chExt cx="1277938" cy="1098550"/>
            </a:xfrm>
          </p:grpSpPr>
          <p:sp>
            <p:nvSpPr>
              <p:cNvPr id="17" name="Freeform 75">
                <a:extLst>
                  <a:ext uri="{FF2B5EF4-FFF2-40B4-BE49-F238E27FC236}">
                    <a16:creationId xmlns:a16="http://schemas.microsoft.com/office/drawing/2014/main" id="{640C6541-C674-63A6-F9AC-A718BF51BBB5}"/>
                  </a:ext>
                </a:extLst>
              </p:cNvPr>
              <p:cNvSpPr>
                <a:spLocks/>
              </p:cNvSpPr>
              <p:nvPr/>
            </p:nvSpPr>
            <p:spPr bwMode="auto">
              <a:xfrm>
                <a:off x="5698332" y="2941637"/>
                <a:ext cx="1022350" cy="941388"/>
              </a:xfrm>
              <a:custGeom>
                <a:avLst/>
                <a:gdLst>
                  <a:gd name="connsiteX0" fmla="*/ 674688 w 1022350"/>
                  <a:gd name="connsiteY0" fmla="*/ 831850 h 941388"/>
                  <a:gd name="connsiteX1" fmla="*/ 730251 w 1022350"/>
                  <a:gd name="connsiteY1" fmla="*/ 886619 h 941388"/>
                  <a:gd name="connsiteX2" fmla="*/ 674688 w 1022350"/>
                  <a:gd name="connsiteY2" fmla="*/ 941388 h 941388"/>
                  <a:gd name="connsiteX3" fmla="*/ 619125 w 1022350"/>
                  <a:gd name="connsiteY3" fmla="*/ 886619 h 941388"/>
                  <a:gd name="connsiteX4" fmla="*/ 674688 w 1022350"/>
                  <a:gd name="connsiteY4" fmla="*/ 831850 h 941388"/>
                  <a:gd name="connsiteX5" fmla="*/ 180181 w 1022350"/>
                  <a:gd name="connsiteY5" fmla="*/ 831850 h 941388"/>
                  <a:gd name="connsiteX6" fmla="*/ 234950 w 1022350"/>
                  <a:gd name="connsiteY6" fmla="*/ 886619 h 941388"/>
                  <a:gd name="connsiteX7" fmla="*/ 180181 w 1022350"/>
                  <a:gd name="connsiteY7" fmla="*/ 941388 h 941388"/>
                  <a:gd name="connsiteX8" fmla="*/ 125412 w 1022350"/>
                  <a:gd name="connsiteY8" fmla="*/ 886619 h 941388"/>
                  <a:gd name="connsiteX9" fmla="*/ 180181 w 1022350"/>
                  <a:gd name="connsiteY9" fmla="*/ 831850 h 941388"/>
                  <a:gd name="connsiteX10" fmla="*/ 313534 w 1022350"/>
                  <a:gd name="connsiteY10" fmla="*/ 430212 h 941388"/>
                  <a:gd name="connsiteX11" fmla="*/ 306387 w 1022350"/>
                  <a:gd name="connsiteY11" fmla="*/ 437284 h 941388"/>
                  <a:gd name="connsiteX12" fmla="*/ 306387 w 1022350"/>
                  <a:gd name="connsiteY12" fmla="*/ 500928 h 941388"/>
                  <a:gd name="connsiteX13" fmla="*/ 313534 w 1022350"/>
                  <a:gd name="connsiteY13" fmla="*/ 507999 h 941388"/>
                  <a:gd name="connsiteX14" fmla="*/ 478627 w 1022350"/>
                  <a:gd name="connsiteY14" fmla="*/ 507999 h 941388"/>
                  <a:gd name="connsiteX15" fmla="*/ 485774 w 1022350"/>
                  <a:gd name="connsiteY15" fmla="*/ 500928 h 941388"/>
                  <a:gd name="connsiteX16" fmla="*/ 485774 w 1022350"/>
                  <a:gd name="connsiteY16" fmla="*/ 437284 h 941388"/>
                  <a:gd name="connsiteX17" fmla="*/ 478627 w 1022350"/>
                  <a:gd name="connsiteY17" fmla="*/ 430212 h 941388"/>
                  <a:gd name="connsiteX18" fmla="*/ 313534 w 1022350"/>
                  <a:gd name="connsiteY18" fmla="*/ 430212 h 941388"/>
                  <a:gd name="connsiteX19" fmla="*/ 245865 w 1022350"/>
                  <a:gd name="connsiteY19" fmla="*/ 330200 h 941388"/>
                  <a:gd name="connsiteX20" fmla="*/ 293798 w 1022350"/>
                  <a:gd name="connsiteY20" fmla="*/ 356632 h 941388"/>
                  <a:gd name="connsiteX21" fmla="*/ 646502 w 1022350"/>
                  <a:gd name="connsiteY21" fmla="*/ 356632 h 941388"/>
                  <a:gd name="connsiteX22" fmla="*/ 591414 w 1022350"/>
                  <a:gd name="connsiteY22" fmla="*/ 411639 h 941388"/>
                  <a:gd name="connsiteX23" fmla="*/ 578537 w 1022350"/>
                  <a:gd name="connsiteY23" fmla="*/ 429498 h 941388"/>
                  <a:gd name="connsiteX24" fmla="*/ 554212 w 1022350"/>
                  <a:gd name="connsiteY24" fmla="*/ 429498 h 941388"/>
                  <a:gd name="connsiteX25" fmla="*/ 547058 w 1022350"/>
                  <a:gd name="connsiteY25" fmla="*/ 436642 h 941388"/>
                  <a:gd name="connsiteX26" fmla="*/ 547058 w 1022350"/>
                  <a:gd name="connsiteY26" fmla="*/ 500935 h 941388"/>
                  <a:gd name="connsiteX27" fmla="*/ 554212 w 1022350"/>
                  <a:gd name="connsiteY27" fmla="*/ 508079 h 941388"/>
                  <a:gd name="connsiteX28" fmla="*/ 622893 w 1022350"/>
                  <a:gd name="connsiteY28" fmla="*/ 508079 h 941388"/>
                  <a:gd name="connsiteX29" fmla="*/ 632194 w 1022350"/>
                  <a:gd name="connsiteY29" fmla="*/ 508794 h 941388"/>
                  <a:gd name="connsiteX30" fmla="*/ 640779 w 1022350"/>
                  <a:gd name="connsiteY30" fmla="*/ 508079 h 941388"/>
                  <a:gd name="connsiteX31" fmla="*/ 720191 w 1022350"/>
                  <a:gd name="connsiteY31" fmla="*/ 508079 h 941388"/>
                  <a:gd name="connsiteX32" fmla="*/ 727345 w 1022350"/>
                  <a:gd name="connsiteY32" fmla="*/ 500935 h 941388"/>
                  <a:gd name="connsiteX33" fmla="*/ 727345 w 1022350"/>
                  <a:gd name="connsiteY33" fmla="*/ 437356 h 941388"/>
                  <a:gd name="connsiteX34" fmla="*/ 824642 w 1022350"/>
                  <a:gd name="connsiteY34" fmla="*/ 340201 h 941388"/>
                  <a:gd name="connsiteX35" fmla="*/ 826789 w 1022350"/>
                  <a:gd name="connsiteY35" fmla="*/ 337344 h 941388"/>
                  <a:gd name="connsiteX36" fmla="*/ 968443 w 1022350"/>
                  <a:gd name="connsiteY36" fmla="*/ 337344 h 941388"/>
                  <a:gd name="connsiteX37" fmla="*/ 975597 w 1022350"/>
                  <a:gd name="connsiteY37" fmla="*/ 345916 h 941388"/>
                  <a:gd name="connsiteX38" fmla="*/ 964150 w 1022350"/>
                  <a:gd name="connsiteY38" fmla="*/ 423069 h 941388"/>
                  <a:gd name="connsiteX39" fmla="*/ 956280 w 1022350"/>
                  <a:gd name="connsiteY39" fmla="*/ 429498 h 941388"/>
                  <a:gd name="connsiteX40" fmla="*/ 795310 w 1022350"/>
                  <a:gd name="connsiteY40" fmla="*/ 429498 h 941388"/>
                  <a:gd name="connsiteX41" fmla="*/ 788156 w 1022350"/>
                  <a:gd name="connsiteY41" fmla="*/ 436642 h 941388"/>
                  <a:gd name="connsiteX42" fmla="*/ 788156 w 1022350"/>
                  <a:gd name="connsiteY42" fmla="*/ 500935 h 941388"/>
                  <a:gd name="connsiteX43" fmla="*/ 795310 w 1022350"/>
                  <a:gd name="connsiteY43" fmla="*/ 508079 h 941388"/>
                  <a:gd name="connsiteX44" fmla="*/ 940541 w 1022350"/>
                  <a:gd name="connsiteY44" fmla="*/ 508079 h 941388"/>
                  <a:gd name="connsiteX45" fmla="*/ 948411 w 1022350"/>
                  <a:gd name="connsiteY45" fmla="*/ 516652 h 941388"/>
                  <a:gd name="connsiteX46" fmla="*/ 938395 w 1022350"/>
                  <a:gd name="connsiteY46" fmla="*/ 578802 h 941388"/>
                  <a:gd name="connsiteX47" fmla="*/ 916932 w 1022350"/>
                  <a:gd name="connsiteY47" fmla="*/ 601662 h 941388"/>
                  <a:gd name="connsiteX48" fmla="*/ 118520 w 1022350"/>
                  <a:gd name="connsiteY48" fmla="*/ 601662 h 941388"/>
                  <a:gd name="connsiteX49" fmla="*/ 97057 w 1022350"/>
                  <a:gd name="connsiteY49" fmla="*/ 579517 h 941388"/>
                  <a:gd name="connsiteX50" fmla="*/ 97057 w 1022350"/>
                  <a:gd name="connsiteY50" fmla="*/ 578802 h 941388"/>
                  <a:gd name="connsiteX51" fmla="*/ 85610 w 1022350"/>
                  <a:gd name="connsiteY51" fmla="*/ 516652 h 941388"/>
                  <a:gd name="connsiteX52" fmla="*/ 92764 w 1022350"/>
                  <a:gd name="connsiteY52" fmla="*/ 508079 h 941388"/>
                  <a:gd name="connsiteX53" fmla="*/ 237995 w 1022350"/>
                  <a:gd name="connsiteY53" fmla="*/ 508079 h 941388"/>
                  <a:gd name="connsiteX54" fmla="*/ 245865 w 1022350"/>
                  <a:gd name="connsiteY54" fmla="*/ 500935 h 941388"/>
                  <a:gd name="connsiteX55" fmla="*/ 245865 w 1022350"/>
                  <a:gd name="connsiteY55" fmla="*/ 436642 h 941388"/>
                  <a:gd name="connsiteX56" fmla="*/ 237995 w 1022350"/>
                  <a:gd name="connsiteY56" fmla="*/ 429498 h 941388"/>
                  <a:gd name="connsiteX57" fmla="*/ 77740 w 1022350"/>
                  <a:gd name="connsiteY57" fmla="*/ 429498 h 941388"/>
                  <a:gd name="connsiteX58" fmla="*/ 70586 w 1022350"/>
                  <a:gd name="connsiteY58" fmla="*/ 423069 h 941388"/>
                  <a:gd name="connsiteX59" fmla="*/ 56278 w 1022350"/>
                  <a:gd name="connsiteY59" fmla="*/ 345916 h 941388"/>
                  <a:gd name="connsiteX60" fmla="*/ 63432 w 1022350"/>
                  <a:gd name="connsiteY60" fmla="*/ 337344 h 941388"/>
                  <a:gd name="connsiteX61" fmla="*/ 237995 w 1022350"/>
                  <a:gd name="connsiteY61" fmla="*/ 337344 h 941388"/>
                  <a:gd name="connsiteX62" fmla="*/ 245865 w 1022350"/>
                  <a:gd name="connsiteY62" fmla="*/ 330200 h 941388"/>
                  <a:gd name="connsiteX63" fmla="*/ 313534 w 1022350"/>
                  <a:gd name="connsiteY63" fmla="*/ 87312 h 941388"/>
                  <a:gd name="connsiteX64" fmla="*/ 306387 w 1022350"/>
                  <a:gd name="connsiteY64" fmla="*/ 94384 h 941388"/>
                  <a:gd name="connsiteX65" fmla="*/ 306387 w 1022350"/>
                  <a:gd name="connsiteY65" fmla="*/ 158028 h 941388"/>
                  <a:gd name="connsiteX66" fmla="*/ 313534 w 1022350"/>
                  <a:gd name="connsiteY66" fmla="*/ 165099 h 941388"/>
                  <a:gd name="connsiteX67" fmla="*/ 478627 w 1022350"/>
                  <a:gd name="connsiteY67" fmla="*/ 165099 h 941388"/>
                  <a:gd name="connsiteX68" fmla="*/ 485774 w 1022350"/>
                  <a:gd name="connsiteY68" fmla="*/ 158028 h 941388"/>
                  <a:gd name="connsiteX69" fmla="*/ 485774 w 1022350"/>
                  <a:gd name="connsiteY69" fmla="*/ 94384 h 941388"/>
                  <a:gd name="connsiteX70" fmla="*/ 478627 w 1022350"/>
                  <a:gd name="connsiteY70" fmla="*/ 87312 h 941388"/>
                  <a:gd name="connsiteX71" fmla="*/ 313534 w 1022350"/>
                  <a:gd name="connsiteY71" fmla="*/ 87312 h 941388"/>
                  <a:gd name="connsiteX72" fmla="*/ 22132 w 1022350"/>
                  <a:gd name="connsiteY72" fmla="*/ 0 h 941388"/>
                  <a:gd name="connsiteX73" fmla="*/ 1000218 w 1022350"/>
                  <a:gd name="connsiteY73" fmla="*/ 0 h 941388"/>
                  <a:gd name="connsiteX74" fmla="*/ 1022350 w 1022350"/>
                  <a:gd name="connsiteY74" fmla="*/ 22133 h 941388"/>
                  <a:gd name="connsiteX75" fmla="*/ 1022350 w 1022350"/>
                  <a:gd name="connsiteY75" fmla="*/ 22847 h 941388"/>
                  <a:gd name="connsiteX76" fmla="*/ 1013069 w 1022350"/>
                  <a:gd name="connsiteY76" fmla="*/ 81391 h 941388"/>
                  <a:gd name="connsiteX77" fmla="*/ 1005930 w 1022350"/>
                  <a:gd name="connsiteY77" fmla="*/ 87817 h 941388"/>
                  <a:gd name="connsiteX78" fmla="*/ 794606 w 1022350"/>
                  <a:gd name="connsiteY78" fmla="*/ 87817 h 941388"/>
                  <a:gd name="connsiteX79" fmla="*/ 787467 w 1022350"/>
                  <a:gd name="connsiteY79" fmla="*/ 94956 h 941388"/>
                  <a:gd name="connsiteX80" fmla="*/ 787467 w 1022350"/>
                  <a:gd name="connsiteY80" fmla="*/ 159212 h 941388"/>
                  <a:gd name="connsiteX81" fmla="*/ 794606 w 1022350"/>
                  <a:gd name="connsiteY81" fmla="*/ 166352 h 941388"/>
                  <a:gd name="connsiteX82" fmla="*/ 992365 w 1022350"/>
                  <a:gd name="connsiteY82" fmla="*/ 166352 h 941388"/>
                  <a:gd name="connsiteX83" fmla="*/ 999504 w 1022350"/>
                  <a:gd name="connsiteY83" fmla="*/ 174919 h 941388"/>
                  <a:gd name="connsiteX84" fmla="*/ 988082 w 1022350"/>
                  <a:gd name="connsiteY84" fmla="*/ 252026 h 941388"/>
                  <a:gd name="connsiteX85" fmla="*/ 980942 w 1022350"/>
                  <a:gd name="connsiteY85" fmla="*/ 258452 h 941388"/>
                  <a:gd name="connsiteX86" fmla="*/ 823163 w 1022350"/>
                  <a:gd name="connsiteY86" fmla="*/ 258452 h 941388"/>
                  <a:gd name="connsiteX87" fmla="*/ 726069 w 1022350"/>
                  <a:gd name="connsiteY87" fmla="*/ 161354 h 941388"/>
                  <a:gd name="connsiteX88" fmla="*/ 726783 w 1022350"/>
                  <a:gd name="connsiteY88" fmla="*/ 159212 h 941388"/>
                  <a:gd name="connsiteX89" fmla="*/ 726783 w 1022350"/>
                  <a:gd name="connsiteY89" fmla="*/ 94956 h 941388"/>
                  <a:gd name="connsiteX90" fmla="*/ 719643 w 1022350"/>
                  <a:gd name="connsiteY90" fmla="*/ 87817 h 941388"/>
                  <a:gd name="connsiteX91" fmla="*/ 554011 w 1022350"/>
                  <a:gd name="connsiteY91" fmla="*/ 87817 h 941388"/>
                  <a:gd name="connsiteX92" fmla="*/ 546872 w 1022350"/>
                  <a:gd name="connsiteY92" fmla="*/ 94956 h 941388"/>
                  <a:gd name="connsiteX93" fmla="*/ 546872 w 1022350"/>
                  <a:gd name="connsiteY93" fmla="*/ 159212 h 941388"/>
                  <a:gd name="connsiteX94" fmla="*/ 554011 w 1022350"/>
                  <a:gd name="connsiteY94" fmla="*/ 166352 h 941388"/>
                  <a:gd name="connsiteX95" fmla="*/ 576857 w 1022350"/>
                  <a:gd name="connsiteY95" fmla="*/ 166352 h 941388"/>
                  <a:gd name="connsiteX96" fmla="*/ 590422 w 1022350"/>
                  <a:gd name="connsiteY96" fmla="*/ 187770 h 941388"/>
                  <a:gd name="connsiteX97" fmla="*/ 645394 w 1022350"/>
                  <a:gd name="connsiteY97" fmla="*/ 242745 h 941388"/>
                  <a:gd name="connsiteX98" fmla="*/ 294140 w 1022350"/>
                  <a:gd name="connsiteY98" fmla="*/ 242745 h 941388"/>
                  <a:gd name="connsiteX99" fmla="*/ 246307 w 1022350"/>
                  <a:gd name="connsiteY99" fmla="*/ 269875 h 941388"/>
                  <a:gd name="connsiteX100" fmla="*/ 246307 w 1022350"/>
                  <a:gd name="connsiteY100" fmla="*/ 265591 h 941388"/>
                  <a:gd name="connsiteX101" fmla="*/ 238453 w 1022350"/>
                  <a:gd name="connsiteY101" fmla="*/ 258452 h 941388"/>
                  <a:gd name="connsiteX102" fmla="*/ 48548 w 1022350"/>
                  <a:gd name="connsiteY102" fmla="*/ 258452 h 941388"/>
                  <a:gd name="connsiteX103" fmla="*/ 41408 w 1022350"/>
                  <a:gd name="connsiteY103" fmla="*/ 252026 h 941388"/>
                  <a:gd name="connsiteX104" fmla="*/ 27130 w 1022350"/>
                  <a:gd name="connsiteY104" fmla="*/ 174919 h 941388"/>
                  <a:gd name="connsiteX105" fmla="*/ 34983 w 1022350"/>
                  <a:gd name="connsiteY105" fmla="*/ 166352 h 941388"/>
                  <a:gd name="connsiteX106" fmla="*/ 238453 w 1022350"/>
                  <a:gd name="connsiteY106" fmla="*/ 166352 h 941388"/>
                  <a:gd name="connsiteX107" fmla="*/ 246307 w 1022350"/>
                  <a:gd name="connsiteY107" fmla="*/ 159212 h 941388"/>
                  <a:gd name="connsiteX108" fmla="*/ 246307 w 1022350"/>
                  <a:gd name="connsiteY108" fmla="*/ 94956 h 941388"/>
                  <a:gd name="connsiteX109" fmla="*/ 238453 w 1022350"/>
                  <a:gd name="connsiteY109" fmla="*/ 87817 h 941388"/>
                  <a:gd name="connsiteX110" fmla="*/ 17849 w 1022350"/>
                  <a:gd name="connsiteY110" fmla="*/ 87817 h 941388"/>
                  <a:gd name="connsiteX111" fmla="*/ 10709 w 1022350"/>
                  <a:gd name="connsiteY111" fmla="*/ 81391 h 941388"/>
                  <a:gd name="connsiteX112" fmla="*/ 0 w 1022350"/>
                  <a:gd name="connsiteY112" fmla="*/ 23561 h 941388"/>
                  <a:gd name="connsiteX113" fmla="*/ 0 w 1022350"/>
                  <a:gd name="connsiteY113" fmla="*/ 22133 h 941388"/>
                  <a:gd name="connsiteX114" fmla="*/ 22132 w 1022350"/>
                  <a:gd name="connsiteY114" fmla="*/ 0 h 94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022350" h="941388">
                    <a:moveTo>
                      <a:pt x="674688" y="831850"/>
                    </a:moveTo>
                    <a:cubicBezTo>
                      <a:pt x="705375" y="831850"/>
                      <a:pt x="730251" y="856371"/>
                      <a:pt x="730251" y="886619"/>
                    </a:cubicBezTo>
                    <a:cubicBezTo>
                      <a:pt x="730251" y="916867"/>
                      <a:pt x="705375" y="941388"/>
                      <a:pt x="674688" y="941388"/>
                    </a:cubicBezTo>
                    <a:cubicBezTo>
                      <a:pt x="644001" y="941388"/>
                      <a:pt x="619125" y="916867"/>
                      <a:pt x="619125" y="886619"/>
                    </a:cubicBezTo>
                    <a:cubicBezTo>
                      <a:pt x="619125" y="856371"/>
                      <a:pt x="644001" y="831850"/>
                      <a:pt x="674688" y="831850"/>
                    </a:cubicBezTo>
                    <a:close/>
                    <a:moveTo>
                      <a:pt x="180181" y="831850"/>
                    </a:moveTo>
                    <a:cubicBezTo>
                      <a:pt x="210429" y="831850"/>
                      <a:pt x="234950" y="856371"/>
                      <a:pt x="234950" y="886619"/>
                    </a:cubicBezTo>
                    <a:cubicBezTo>
                      <a:pt x="234950" y="916867"/>
                      <a:pt x="210429" y="941388"/>
                      <a:pt x="180181" y="941388"/>
                    </a:cubicBezTo>
                    <a:cubicBezTo>
                      <a:pt x="149933" y="941388"/>
                      <a:pt x="125412" y="916867"/>
                      <a:pt x="125412" y="886619"/>
                    </a:cubicBezTo>
                    <a:cubicBezTo>
                      <a:pt x="125412" y="856371"/>
                      <a:pt x="149933" y="831850"/>
                      <a:pt x="180181" y="831850"/>
                    </a:cubicBezTo>
                    <a:close/>
                    <a:moveTo>
                      <a:pt x="313534" y="430212"/>
                    </a:moveTo>
                    <a:cubicBezTo>
                      <a:pt x="309961" y="430212"/>
                      <a:pt x="306387" y="433041"/>
                      <a:pt x="306387" y="437284"/>
                    </a:cubicBezTo>
                    <a:cubicBezTo>
                      <a:pt x="306387" y="437284"/>
                      <a:pt x="306387" y="437284"/>
                      <a:pt x="306387" y="500928"/>
                    </a:cubicBezTo>
                    <a:cubicBezTo>
                      <a:pt x="306387" y="505171"/>
                      <a:pt x="309961" y="507999"/>
                      <a:pt x="313534" y="507999"/>
                    </a:cubicBezTo>
                    <a:cubicBezTo>
                      <a:pt x="313534" y="507999"/>
                      <a:pt x="313534" y="507999"/>
                      <a:pt x="478627" y="507999"/>
                    </a:cubicBezTo>
                    <a:cubicBezTo>
                      <a:pt x="482201" y="507999"/>
                      <a:pt x="485774" y="505171"/>
                      <a:pt x="485774" y="500928"/>
                    </a:cubicBezTo>
                    <a:cubicBezTo>
                      <a:pt x="485774" y="500928"/>
                      <a:pt x="485774" y="500928"/>
                      <a:pt x="485774" y="437284"/>
                    </a:cubicBezTo>
                    <a:cubicBezTo>
                      <a:pt x="485774" y="433041"/>
                      <a:pt x="482201" y="430212"/>
                      <a:pt x="478627" y="430212"/>
                    </a:cubicBezTo>
                    <a:cubicBezTo>
                      <a:pt x="478627" y="430212"/>
                      <a:pt x="478627" y="430212"/>
                      <a:pt x="313534" y="430212"/>
                    </a:cubicBezTo>
                    <a:close/>
                    <a:moveTo>
                      <a:pt x="245865" y="330200"/>
                    </a:moveTo>
                    <a:cubicBezTo>
                      <a:pt x="255881" y="345916"/>
                      <a:pt x="273766" y="356632"/>
                      <a:pt x="293798" y="356632"/>
                    </a:cubicBezTo>
                    <a:cubicBezTo>
                      <a:pt x="293798" y="356632"/>
                      <a:pt x="293798" y="356632"/>
                      <a:pt x="646502" y="356632"/>
                    </a:cubicBezTo>
                    <a:cubicBezTo>
                      <a:pt x="646502" y="356632"/>
                      <a:pt x="646502" y="356632"/>
                      <a:pt x="591414" y="411639"/>
                    </a:cubicBezTo>
                    <a:cubicBezTo>
                      <a:pt x="586406" y="416639"/>
                      <a:pt x="582114" y="423069"/>
                      <a:pt x="578537" y="429498"/>
                    </a:cubicBezTo>
                    <a:cubicBezTo>
                      <a:pt x="571383" y="429498"/>
                      <a:pt x="562797" y="429498"/>
                      <a:pt x="554212" y="429498"/>
                    </a:cubicBezTo>
                    <a:cubicBezTo>
                      <a:pt x="550635" y="429498"/>
                      <a:pt x="547058" y="432356"/>
                      <a:pt x="547058" y="436642"/>
                    </a:cubicBezTo>
                    <a:cubicBezTo>
                      <a:pt x="547058" y="436642"/>
                      <a:pt x="547058" y="436642"/>
                      <a:pt x="547058" y="500935"/>
                    </a:cubicBezTo>
                    <a:cubicBezTo>
                      <a:pt x="547058" y="505222"/>
                      <a:pt x="550635" y="508079"/>
                      <a:pt x="554212" y="508079"/>
                    </a:cubicBezTo>
                    <a:cubicBezTo>
                      <a:pt x="554212" y="508079"/>
                      <a:pt x="554212" y="508079"/>
                      <a:pt x="622893" y="508079"/>
                    </a:cubicBezTo>
                    <a:cubicBezTo>
                      <a:pt x="625755" y="508794"/>
                      <a:pt x="628616" y="508794"/>
                      <a:pt x="632194" y="508794"/>
                    </a:cubicBezTo>
                    <a:cubicBezTo>
                      <a:pt x="635055" y="508794"/>
                      <a:pt x="637917" y="508794"/>
                      <a:pt x="640779" y="508079"/>
                    </a:cubicBezTo>
                    <a:cubicBezTo>
                      <a:pt x="661526" y="508079"/>
                      <a:pt x="687997" y="508079"/>
                      <a:pt x="720191" y="508079"/>
                    </a:cubicBezTo>
                    <a:cubicBezTo>
                      <a:pt x="724483" y="508079"/>
                      <a:pt x="727345" y="505222"/>
                      <a:pt x="727345" y="500935"/>
                    </a:cubicBezTo>
                    <a:cubicBezTo>
                      <a:pt x="727345" y="500935"/>
                      <a:pt x="727345" y="500935"/>
                      <a:pt x="727345" y="437356"/>
                    </a:cubicBezTo>
                    <a:cubicBezTo>
                      <a:pt x="727345" y="437356"/>
                      <a:pt x="727345" y="437356"/>
                      <a:pt x="824642" y="340201"/>
                    </a:cubicBezTo>
                    <a:cubicBezTo>
                      <a:pt x="825358" y="339487"/>
                      <a:pt x="826073" y="338773"/>
                      <a:pt x="826789" y="337344"/>
                    </a:cubicBezTo>
                    <a:cubicBezTo>
                      <a:pt x="851113" y="337344"/>
                      <a:pt x="893323" y="337344"/>
                      <a:pt x="968443" y="337344"/>
                    </a:cubicBezTo>
                    <a:cubicBezTo>
                      <a:pt x="972735" y="337344"/>
                      <a:pt x="976312" y="341630"/>
                      <a:pt x="975597" y="345916"/>
                    </a:cubicBezTo>
                    <a:cubicBezTo>
                      <a:pt x="975597" y="345916"/>
                      <a:pt x="975597" y="345916"/>
                      <a:pt x="964150" y="423069"/>
                    </a:cubicBezTo>
                    <a:cubicBezTo>
                      <a:pt x="962719" y="426641"/>
                      <a:pt x="959857" y="429498"/>
                      <a:pt x="956280" y="429498"/>
                    </a:cubicBezTo>
                    <a:cubicBezTo>
                      <a:pt x="956280" y="429498"/>
                      <a:pt x="956280" y="429498"/>
                      <a:pt x="795310" y="429498"/>
                    </a:cubicBezTo>
                    <a:cubicBezTo>
                      <a:pt x="791018" y="429498"/>
                      <a:pt x="788156" y="432356"/>
                      <a:pt x="788156" y="436642"/>
                    </a:cubicBezTo>
                    <a:cubicBezTo>
                      <a:pt x="788156" y="436642"/>
                      <a:pt x="788156" y="436642"/>
                      <a:pt x="788156" y="500935"/>
                    </a:cubicBezTo>
                    <a:cubicBezTo>
                      <a:pt x="788156" y="505222"/>
                      <a:pt x="791018" y="508079"/>
                      <a:pt x="795310" y="508079"/>
                    </a:cubicBezTo>
                    <a:cubicBezTo>
                      <a:pt x="795310" y="508079"/>
                      <a:pt x="795310" y="508079"/>
                      <a:pt x="940541" y="508079"/>
                    </a:cubicBezTo>
                    <a:cubicBezTo>
                      <a:pt x="944834" y="508079"/>
                      <a:pt x="948411" y="512365"/>
                      <a:pt x="948411" y="516652"/>
                    </a:cubicBezTo>
                    <a:cubicBezTo>
                      <a:pt x="948411" y="516652"/>
                      <a:pt x="948411" y="516652"/>
                      <a:pt x="938395" y="578802"/>
                    </a:cubicBezTo>
                    <a:cubicBezTo>
                      <a:pt x="938395" y="591661"/>
                      <a:pt x="928379" y="601662"/>
                      <a:pt x="916932" y="601662"/>
                    </a:cubicBezTo>
                    <a:cubicBezTo>
                      <a:pt x="916932" y="601662"/>
                      <a:pt x="916932" y="601662"/>
                      <a:pt x="118520" y="601662"/>
                    </a:cubicBezTo>
                    <a:cubicBezTo>
                      <a:pt x="107073" y="601662"/>
                      <a:pt x="97057" y="591661"/>
                      <a:pt x="97057" y="579517"/>
                    </a:cubicBezTo>
                    <a:cubicBezTo>
                      <a:pt x="97057" y="578802"/>
                      <a:pt x="97057" y="578802"/>
                      <a:pt x="97057" y="578802"/>
                    </a:cubicBezTo>
                    <a:cubicBezTo>
                      <a:pt x="97057" y="578802"/>
                      <a:pt x="97057" y="578802"/>
                      <a:pt x="85610" y="516652"/>
                    </a:cubicBezTo>
                    <a:cubicBezTo>
                      <a:pt x="84895" y="512365"/>
                      <a:pt x="87756" y="508079"/>
                      <a:pt x="92764" y="508079"/>
                    </a:cubicBezTo>
                    <a:cubicBezTo>
                      <a:pt x="92764" y="508079"/>
                      <a:pt x="92764" y="508079"/>
                      <a:pt x="237995" y="508079"/>
                    </a:cubicBezTo>
                    <a:cubicBezTo>
                      <a:pt x="242288" y="508079"/>
                      <a:pt x="245865" y="505222"/>
                      <a:pt x="245865" y="500935"/>
                    </a:cubicBezTo>
                    <a:cubicBezTo>
                      <a:pt x="245865" y="500935"/>
                      <a:pt x="245865" y="500935"/>
                      <a:pt x="245865" y="436642"/>
                    </a:cubicBezTo>
                    <a:cubicBezTo>
                      <a:pt x="245865" y="432356"/>
                      <a:pt x="242288" y="429498"/>
                      <a:pt x="237995" y="429498"/>
                    </a:cubicBezTo>
                    <a:cubicBezTo>
                      <a:pt x="237995" y="429498"/>
                      <a:pt x="237995" y="429498"/>
                      <a:pt x="77740" y="429498"/>
                    </a:cubicBezTo>
                    <a:cubicBezTo>
                      <a:pt x="74163" y="429498"/>
                      <a:pt x="71302" y="426641"/>
                      <a:pt x="70586" y="423069"/>
                    </a:cubicBezTo>
                    <a:cubicBezTo>
                      <a:pt x="70586" y="423069"/>
                      <a:pt x="70586" y="423069"/>
                      <a:pt x="56278" y="345916"/>
                    </a:cubicBezTo>
                    <a:cubicBezTo>
                      <a:pt x="55562" y="341630"/>
                      <a:pt x="59139" y="337344"/>
                      <a:pt x="63432" y="337344"/>
                    </a:cubicBezTo>
                    <a:cubicBezTo>
                      <a:pt x="63432" y="337344"/>
                      <a:pt x="63432" y="337344"/>
                      <a:pt x="237995" y="337344"/>
                    </a:cubicBezTo>
                    <a:cubicBezTo>
                      <a:pt x="242288" y="337344"/>
                      <a:pt x="245865" y="334486"/>
                      <a:pt x="245865" y="330200"/>
                    </a:cubicBezTo>
                    <a:close/>
                    <a:moveTo>
                      <a:pt x="313534" y="87312"/>
                    </a:moveTo>
                    <a:cubicBezTo>
                      <a:pt x="309961" y="87312"/>
                      <a:pt x="306387" y="90141"/>
                      <a:pt x="306387" y="94384"/>
                    </a:cubicBezTo>
                    <a:cubicBezTo>
                      <a:pt x="306387" y="94384"/>
                      <a:pt x="306387" y="94384"/>
                      <a:pt x="306387" y="158028"/>
                    </a:cubicBezTo>
                    <a:cubicBezTo>
                      <a:pt x="306387" y="162271"/>
                      <a:pt x="309961" y="165099"/>
                      <a:pt x="313534" y="165099"/>
                    </a:cubicBezTo>
                    <a:cubicBezTo>
                      <a:pt x="313534" y="165099"/>
                      <a:pt x="313534" y="165099"/>
                      <a:pt x="478627" y="165099"/>
                    </a:cubicBezTo>
                    <a:cubicBezTo>
                      <a:pt x="482201" y="165099"/>
                      <a:pt x="485774" y="162271"/>
                      <a:pt x="485774" y="158028"/>
                    </a:cubicBezTo>
                    <a:cubicBezTo>
                      <a:pt x="485774" y="158028"/>
                      <a:pt x="485774" y="158028"/>
                      <a:pt x="485774" y="94384"/>
                    </a:cubicBezTo>
                    <a:cubicBezTo>
                      <a:pt x="485774" y="90141"/>
                      <a:pt x="482201" y="87312"/>
                      <a:pt x="478627" y="87312"/>
                    </a:cubicBezTo>
                    <a:cubicBezTo>
                      <a:pt x="478627" y="87312"/>
                      <a:pt x="478627" y="87312"/>
                      <a:pt x="313534" y="87312"/>
                    </a:cubicBezTo>
                    <a:close/>
                    <a:moveTo>
                      <a:pt x="22132" y="0"/>
                    </a:moveTo>
                    <a:cubicBezTo>
                      <a:pt x="22132" y="0"/>
                      <a:pt x="22132" y="0"/>
                      <a:pt x="1000218" y="0"/>
                    </a:cubicBezTo>
                    <a:cubicBezTo>
                      <a:pt x="1011641" y="0"/>
                      <a:pt x="1021636" y="9995"/>
                      <a:pt x="1022350" y="22133"/>
                    </a:cubicBezTo>
                    <a:cubicBezTo>
                      <a:pt x="1022350" y="22847"/>
                      <a:pt x="1022350" y="22847"/>
                      <a:pt x="1022350" y="22847"/>
                    </a:cubicBezTo>
                    <a:cubicBezTo>
                      <a:pt x="1022350" y="22847"/>
                      <a:pt x="1022350" y="22847"/>
                      <a:pt x="1013069" y="81391"/>
                    </a:cubicBezTo>
                    <a:cubicBezTo>
                      <a:pt x="1013069" y="85675"/>
                      <a:pt x="1009499" y="87817"/>
                      <a:pt x="1005930" y="87817"/>
                    </a:cubicBezTo>
                    <a:cubicBezTo>
                      <a:pt x="1005930" y="87817"/>
                      <a:pt x="1005930" y="87817"/>
                      <a:pt x="794606" y="87817"/>
                    </a:cubicBezTo>
                    <a:cubicBezTo>
                      <a:pt x="790322" y="87817"/>
                      <a:pt x="787467" y="90672"/>
                      <a:pt x="787467" y="94956"/>
                    </a:cubicBezTo>
                    <a:cubicBezTo>
                      <a:pt x="787467" y="94956"/>
                      <a:pt x="787467" y="94956"/>
                      <a:pt x="787467" y="159212"/>
                    </a:cubicBezTo>
                    <a:cubicBezTo>
                      <a:pt x="787467" y="163496"/>
                      <a:pt x="790322" y="166352"/>
                      <a:pt x="794606" y="166352"/>
                    </a:cubicBezTo>
                    <a:cubicBezTo>
                      <a:pt x="794606" y="166352"/>
                      <a:pt x="794606" y="166352"/>
                      <a:pt x="992365" y="166352"/>
                    </a:cubicBezTo>
                    <a:cubicBezTo>
                      <a:pt x="996649" y="166352"/>
                      <a:pt x="1000218" y="170635"/>
                      <a:pt x="999504" y="174919"/>
                    </a:cubicBezTo>
                    <a:cubicBezTo>
                      <a:pt x="999504" y="174919"/>
                      <a:pt x="999504" y="174919"/>
                      <a:pt x="988082" y="252026"/>
                    </a:cubicBezTo>
                    <a:cubicBezTo>
                      <a:pt x="987368" y="255596"/>
                      <a:pt x="984512" y="258452"/>
                      <a:pt x="980942" y="258452"/>
                    </a:cubicBezTo>
                    <a:cubicBezTo>
                      <a:pt x="980942" y="258452"/>
                      <a:pt x="980228" y="258452"/>
                      <a:pt x="823163" y="258452"/>
                    </a:cubicBezTo>
                    <a:cubicBezTo>
                      <a:pt x="823163" y="258452"/>
                      <a:pt x="823163" y="258452"/>
                      <a:pt x="726069" y="161354"/>
                    </a:cubicBezTo>
                    <a:cubicBezTo>
                      <a:pt x="726783" y="160640"/>
                      <a:pt x="726783" y="159926"/>
                      <a:pt x="726783" y="159212"/>
                    </a:cubicBezTo>
                    <a:cubicBezTo>
                      <a:pt x="726783" y="159212"/>
                      <a:pt x="726783" y="159212"/>
                      <a:pt x="726783" y="94956"/>
                    </a:cubicBezTo>
                    <a:cubicBezTo>
                      <a:pt x="726783" y="90672"/>
                      <a:pt x="723927" y="87817"/>
                      <a:pt x="719643" y="87817"/>
                    </a:cubicBezTo>
                    <a:cubicBezTo>
                      <a:pt x="719643" y="87817"/>
                      <a:pt x="719643" y="87817"/>
                      <a:pt x="554011" y="87817"/>
                    </a:cubicBezTo>
                    <a:cubicBezTo>
                      <a:pt x="550441" y="87817"/>
                      <a:pt x="546872" y="90672"/>
                      <a:pt x="546872" y="94956"/>
                    </a:cubicBezTo>
                    <a:cubicBezTo>
                      <a:pt x="546872" y="94956"/>
                      <a:pt x="546872" y="94956"/>
                      <a:pt x="546872" y="159212"/>
                    </a:cubicBezTo>
                    <a:cubicBezTo>
                      <a:pt x="546872" y="163496"/>
                      <a:pt x="550441" y="166352"/>
                      <a:pt x="554011" y="166352"/>
                    </a:cubicBezTo>
                    <a:cubicBezTo>
                      <a:pt x="554011" y="166352"/>
                      <a:pt x="554011" y="166352"/>
                      <a:pt x="576857" y="166352"/>
                    </a:cubicBezTo>
                    <a:cubicBezTo>
                      <a:pt x="579713" y="174205"/>
                      <a:pt x="584710" y="182059"/>
                      <a:pt x="590422" y="187770"/>
                    </a:cubicBezTo>
                    <a:cubicBezTo>
                      <a:pt x="590422" y="187770"/>
                      <a:pt x="590422" y="187770"/>
                      <a:pt x="645394" y="242745"/>
                    </a:cubicBezTo>
                    <a:cubicBezTo>
                      <a:pt x="645394" y="242745"/>
                      <a:pt x="645394" y="242745"/>
                      <a:pt x="294140" y="242745"/>
                    </a:cubicBezTo>
                    <a:cubicBezTo>
                      <a:pt x="274150" y="242745"/>
                      <a:pt x="256302" y="253454"/>
                      <a:pt x="246307" y="269875"/>
                    </a:cubicBezTo>
                    <a:cubicBezTo>
                      <a:pt x="246307" y="268447"/>
                      <a:pt x="246307" y="267019"/>
                      <a:pt x="246307" y="265591"/>
                    </a:cubicBezTo>
                    <a:cubicBezTo>
                      <a:pt x="246307" y="261308"/>
                      <a:pt x="242737" y="258452"/>
                      <a:pt x="238453" y="258452"/>
                    </a:cubicBezTo>
                    <a:cubicBezTo>
                      <a:pt x="238453" y="258452"/>
                      <a:pt x="238453" y="258452"/>
                      <a:pt x="48548" y="258452"/>
                    </a:cubicBezTo>
                    <a:cubicBezTo>
                      <a:pt x="44978" y="258452"/>
                      <a:pt x="42122" y="255596"/>
                      <a:pt x="41408" y="252026"/>
                    </a:cubicBezTo>
                    <a:cubicBezTo>
                      <a:pt x="41408" y="252026"/>
                      <a:pt x="41408" y="252026"/>
                      <a:pt x="27130" y="174919"/>
                    </a:cubicBezTo>
                    <a:cubicBezTo>
                      <a:pt x="27130" y="170635"/>
                      <a:pt x="29985" y="166352"/>
                      <a:pt x="34983" y="166352"/>
                    </a:cubicBezTo>
                    <a:cubicBezTo>
                      <a:pt x="34983" y="166352"/>
                      <a:pt x="34983" y="166352"/>
                      <a:pt x="238453" y="166352"/>
                    </a:cubicBezTo>
                    <a:cubicBezTo>
                      <a:pt x="242737" y="166352"/>
                      <a:pt x="246307" y="163496"/>
                      <a:pt x="246307" y="159212"/>
                    </a:cubicBezTo>
                    <a:cubicBezTo>
                      <a:pt x="246307" y="159212"/>
                      <a:pt x="246307" y="159212"/>
                      <a:pt x="246307" y="94956"/>
                    </a:cubicBezTo>
                    <a:cubicBezTo>
                      <a:pt x="246307" y="90672"/>
                      <a:pt x="242737" y="87817"/>
                      <a:pt x="238453" y="87817"/>
                    </a:cubicBezTo>
                    <a:cubicBezTo>
                      <a:pt x="238453" y="87817"/>
                      <a:pt x="238453" y="87817"/>
                      <a:pt x="17849" y="87817"/>
                    </a:cubicBezTo>
                    <a:cubicBezTo>
                      <a:pt x="14279" y="87817"/>
                      <a:pt x="10709" y="85675"/>
                      <a:pt x="10709" y="81391"/>
                    </a:cubicBezTo>
                    <a:cubicBezTo>
                      <a:pt x="10709" y="81391"/>
                      <a:pt x="10709" y="81391"/>
                      <a:pt x="0" y="23561"/>
                    </a:cubicBezTo>
                    <a:cubicBezTo>
                      <a:pt x="0" y="22847"/>
                      <a:pt x="0" y="22847"/>
                      <a:pt x="0" y="22133"/>
                    </a:cubicBezTo>
                    <a:cubicBezTo>
                      <a:pt x="714" y="9995"/>
                      <a:pt x="10709" y="0"/>
                      <a:pt x="22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18" name="Freeform 76">
                <a:extLst>
                  <a:ext uri="{FF2B5EF4-FFF2-40B4-BE49-F238E27FC236}">
                    <a16:creationId xmlns:a16="http://schemas.microsoft.com/office/drawing/2014/main" id="{784D66EB-0E44-5AF0-16AB-AC508EBC2AEF}"/>
                  </a:ext>
                </a:extLst>
              </p:cNvPr>
              <p:cNvSpPr>
                <a:spLocks/>
              </p:cNvSpPr>
              <p:nvPr/>
            </p:nvSpPr>
            <p:spPr bwMode="auto">
              <a:xfrm>
                <a:off x="5442744" y="2844800"/>
                <a:ext cx="1096962" cy="1098550"/>
              </a:xfrm>
              <a:custGeom>
                <a:avLst/>
                <a:gdLst>
                  <a:gd name="connsiteX0" fmla="*/ 931069 w 1096962"/>
                  <a:gd name="connsiteY0" fmla="*/ 898524 h 1098550"/>
                  <a:gd name="connsiteX1" fmla="*/ 846138 w 1096962"/>
                  <a:gd name="connsiteY1" fmla="*/ 982662 h 1098550"/>
                  <a:gd name="connsiteX2" fmla="*/ 931069 w 1096962"/>
                  <a:gd name="connsiteY2" fmla="*/ 1066800 h 1098550"/>
                  <a:gd name="connsiteX3" fmla="*/ 1016000 w 1096962"/>
                  <a:gd name="connsiteY3" fmla="*/ 982662 h 1098550"/>
                  <a:gd name="connsiteX4" fmla="*/ 931069 w 1096962"/>
                  <a:gd name="connsiteY4" fmla="*/ 898524 h 1098550"/>
                  <a:gd name="connsiteX5" fmla="*/ 435769 w 1096962"/>
                  <a:gd name="connsiteY5" fmla="*/ 898524 h 1098550"/>
                  <a:gd name="connsiteX6" fmla="*/ 350838 w 1096962"/>
                  <a:gd name="connsiteY6" fmla="*/ 982662 h 1098550"/>
                  <a:gd name="connsiteX7" fmla="*/ 435769 w 1096962"/>
                  <a:gd name="connsiteY7" fmla="*/ 1066800 h 1098550"/>
                  <a:gd name="connsiteX8" fmla="*/ 520700 w 1096962"/>
                  <a:gd name="connsiteY8" fmla="*/ 982662 h 1098550"/>
                  <a:gd name="connsiteX9" fmla="*/ 435769 w 1096962"/>
                  <a:gd name="connsiteY9" fmla="*/ 898524 h 1098550"/>
                  <a:gd name="connsiteX10" fmla="*/ 931069 w 1096962"/>
                  <a:gd name="connsiteY10" fmla="*/ 866774 h 1098550"/>
                  <a:gd name="connsiteX11" fmla="*/ 1047750 w 1096962"/>
                  <a:gd name="connsiteY11" fmla="*/ 982662 h 1098550"/>
                  <a:gd name="connsiteX12" fmla="*/ 931069 w 1096962"/>
                  <a:gd name="connsiteY12" fmla="*/ 1098550 h 1098550"/>
                  <a:gd name="connsiteX13" fmla="*/ 814388 w 1096962"/>
                  <a:gd name="connsiteY13" fmla="*/ 982662 h 1098550"/>
                  <a:gd name="connsiteX14" fmla="*/ 931069 w 1096962"/>
                  <a:gd name="connsiteY14" fmla="*/ 866774 h 1098550"/>
                  <a:gd name="connsiteX15" fmla="*/ 435769 w 1096962"/>
                  <a:gd name="connsiteY15" fmla="*/ 866774 h 1098550"/>
                  <a:gd name="connsiteX16" fmla="*/ 552450 w 1096962"/>
                  <a:gd name="connsiteY16" fmla="*/ 982662 h 1098550"/>
                  <a:gd name="connsiteX17" fmla="*/ 435769 w 1096962"/>
                  <a:gd name="connsiteY17" fmla="*/ 1098550 h 1098550"/>
                  <a:gd name="connsiteX18" fmla="*/ 319088 w 1096962"/>
                  <a:gd name="connsiteY18" fmla="*/ 982662 h 1098550"/>
                  <a:gd name="connsiteX19" fmla="*/ 435769 w 1096962"/>
                  <a:gd name="connsiteY19" fmla="*/ 866774 h 1098550"/>
                  <a:gd name="connsiteX20" fmla="*/ 887203 w 1096962"/>
                  <a:gd name="connsiteY20" fmla="*/ 219075 h 1098550"/>
                  <a:gd name="connsiteX21" fmla="*/ 905075 w 1096962"/>
                  <a:gd name="connsiteY21" fmla="*/ 226198 h 1098550"/>
                  <a:gd name="connsiteX22" fmla="*/ 942250 w 1096962"/>
                  <a:gd name="connsiteY22" fmla="*/ 263238 h 1098550"/>
                  <a:gd name="connsiteX23" fmla="*/ 1043051 w 1096962"/>
                  <a:gd name="connsiteY23" fmla="*/ 363672 h 1098550"/>
                  <a:gd name="connsiteX24" fmla="*/ 1057349 w 1096962"/>
                  <a:gd name="connsiteY24" fmla="*/ 377918 h 1098550"/>
                  <a:gd name="connsiteX25" fmla="*/ 1060209 w 1096962"/>
                  <a:gd name="connsiteY25" fmla="*/ 382191 h 1098550"/>
                  <a:gd name="connsiteX26" fmla="*/ 1060924 w 1096962"/>
                  <a:gd name="connsiteY26" fmla="*/ 382191 h 1098550"/>
                  <a:gd name="connsiteX27" fmla="*/ 1063069 w 1096962"/>
                  <a:gd name="connsiteY27" fmla="*/ 386465 h 1098550"/>
                  <a:gd name="connsiteX28" fmla="*/ 1063069 w 1096962"/>
                  <a:gd name="connsiteY28" fmla="*/ 387177 h 1098550"/>
                  <a:gd name="connsiteX29" fmla="*/ 1064498 w 1096962"/>
                  <a:gd name="connsiteY29" fmla="*/ 391451 h 1098550"/>
                  <a:gd name="connsiteX30" fmla="*/ 1065213 w 1096962"/>
                  <a:gd name="connsiteY30" fmla="*/ 396437 h 1098550"/>
                  <a:gd name="connsiteX31" fmla="*/ 1064498 w 1096962"/>
                  <a:gd name="connsiteY31" fmla="*/ 400711 h 1098550"/>
                  <a:gd name="connsiteX32" fmla="*/ 1064498 w 1096962"/>
                  <a:gd name="connsiteY32" fmla="*/ 401423 h 1098550"/>
                  <a:gd name="connsiteX33" fmla="*/ 1063069 w 1096962"/>
                  <a:gd name="connsiteY33" fmla="*/ 404985 h 1098550"/>
                  <a:gd name="connsiteX34" fmla="*/ 1063069 w 1096962"/>
                  <a:gd name="connsiteY34" fmla="*/ 405697 h 1098550"/>
                  <a:gd name="connsiteX35" fmla="*/ 1060924 w 1096962"/>
                  <a:gd name="connsiteY35" fmla="*/ 409971 h 1098550"/>
                  <a:gd name="connsiteX36" fmla="*/ 1060209 w 1096962"/>
                  <a:gd name="connsiteY36" fmla="*/ 410683 h 1098550"/>
                  <a:gd name="connsiteX37" fmla="*/ 1057349 w 1096962"/>
                  <a:gd name="connsiteY37" fmla="*/ 414245 h 1098550"/>
                  <a:gd name="connsiteX38" fmla="*/ 1043051 w 1096962"/>
                  <a:gd name="connsiteY38" fmla="*/ 428491 h 1098550"/>
                  <a:gd name="connsiteX39" fmla="*/ 945825 w 1096962"/>
                  <a:gd name="connsiteY39" fmla="*/ 525363 h 1098550"/>
                  <a:gd name="connsiteX40" fmla="*/ 905075 w 1096962"/>
                  <a:gd name="connsiteY40" fmla="*/ 565964 h 1098550"/>
                  <a:gd name="connsiteX41" fmla="*/ 887203 w 1096962"/>
                  <a:gd name="connsiteY41" fmla="*/ 573087 h 1098550"/>
                  <a:gd name="connsiteX42" fmla="*/ 868616 w 1096962"/>
                  <a:gd name="connsiteY42" fmla="*/ 565964 h 1098550"/>
                  <a:gd name="connsiteX43" fmla="*/ 861467 w 1096962"/>
                  <a:gd name="connsiteY43" fmla="*/ 548157 h 1098550"/>
                  <a:gd name="connsiteX44" fmla="*/ 868616 w 1096962"/>
                  <a:gd name="connsiteY44" fmla="*/ 529637 h 1098550"/>
                  <a:gd name="connsiteX45" fmla="*/ 873620 w 1096962"/>
                  <a:gd name="connsiteY45" fmla="*/ 525363 h 1098550"/>
                  <a:gd name="connsiteX46" fmla="*/ 950829 w 1096962"/>
                  <a:gd name="connsiteY46" fmla="*/ 448435 h 1098550"/>
                  <a:gd name="connsiteX47" fmla="*/ 954404 w 1096962"/>
                  <a:gd name="connsiteY47" fmla="*/ 433477 h 1098550"/>
                  <a:gd name="connsiteX48" fmla="*/ 953689 w 1096962"/>
                  <a:gd name="connsiteY48" fmla="*/ 431340 h 1098550"/>
                  <a:gd name="connsiteX49" fmla="*/ 939391 w 1096962"/>
                  <a:gd name="connsiteY49" fmla="*/ 421368 h 1098550"/>
                  <a:gd name="connsiteX50" fmla="*/ 802845 w 1096962"/>
                  <a:gd name="connsiteY50" fmla="*/ 421368 h 1098550"/>
                  <a:gd name="connsiteX51" fmla="*/ 742078 w 1096962"/>
                  <a:gd name="connsiteY51" fmla="*/ 421368 h 1098550"/>
                  <a:gd name="connsiteX52" fmla="*/ 563353 w 1096962"/>
                  <a:gd name="connsiteY52" fmla="*/ 421368 h 1098550"/>
                  <a:gd name="connsiteX53" fmla="*/ 550485 w 1096962"/>
                  <a:gd name="connsiteY53" fmla="*/ 421368 h 1098550"/>
                  <a:gd name="connsiteX54" fmla="*/ 525463 w 1096962"/>
                  <a:gd name="connsiteY54" fmla="*/ 396437 h 1098550"/>
                  <a:gd name="connsiteX55" fmla="*/ 550485 w 1096962"/>
                  <a:gd name="connsiteY55" fmla="*/ 370795 h 1098550"/>
                  <a:gd name="connsiteX56" fmla="*/ 563353 w 1096962"/>
                  <a:gd name="connsiteY56" fmla="*/ 370795 h 1098550"/>
                  <a:gd name="connsiteX57" fmla="*/ 742078 w 1096962"/>
                  <a:gd name="connsiteY57" fmla="*/ 370795 h 1098550"/>
                  <a:gd name="connsiteX58" fmla="*/ 802845 w 1096962"/>
                  <a:gd name="connsiteY58" fmla="*/ 370795 h 1098550"/>
                  <a:gd name="connsiteX59" fmla="*/ 939391 w 1096962"/>
                  <a:gd name="connsiteY59" fmla="*/ 370795 h 1098550"/>
                  <a:gd name="connsiteX60" fmla="*/ 953689 w 1096962"/>
                  <a:gd name="connsiteY60" fmla="*/ 360822 h 1098550"/>
                  <a:gd name="connsiteX61" fmla="*/ 955119 w 1096962"/>
                  <a:gd name="connsiteY61" fmla="*/ 355124 h 1098550"/>
                  <a:gd name="connsiteX62" fmla="*/ 950829 w 1096962"/>
                  <a:gd name="connsiteY62" fmla="*/ 343727 h 1098550"/>
                  <a:gd name="connsiteX63" fmla="*/ 870045 w 1096962"/>
                  <a:gd name="connsiteY63" fmla="*/ 263238 h 1098550"/>
                  <a:gd name="connsiteX64" fmla="*/ 868616 w 1096962"/>
                  <a:gd name="connsiteY64" fmla="*/ 262525 h 1098550"/>
                  <a:gd name="connsiteX65" fmla="*/ 861467 w 1096962"/>
                  <a:gd name="connsiteY65" fmla="*/ 244718 h 1098550"/>
                  <a:gd name="connsiteX66" fmla="*/ 868616 w 1096962"/>
                  <a:gd name="connsiteY66" fmla="*/ 226198 h 1098550"/>
                  <a:gd name="connsiteX67" fmla="*/ 887203 w 1096962"/>
                  <a:gd name="connsiteY67" fmla="*/ 219075 h 1098550"/>
                  <a:gd name="connsiteX68" fmla="*/ 15711 w 1096962"/>
                  <a:gd name="connsiteY68" fmla="*/ 0 h 1098550"/>
                  <a:gd name="connsiteX69" fmla="*/ 159259 w 1096962"/>
                  <a:gd name="connsiteY69" fmla="*/ 0 h 1098550"/>
                  <a:gd name="connsiteX70" fmla="*/ 174971 w 1096962"/>
                  <a:gd name="connsiteY70" fmla="*/ 12859 h 1098550"/>
                  <a:gd name="connsiteX71" fmla="*/ 313520 w 1096962"/>
                  <a:gd name="connsiteY71" fmla="*/ 768668 h 1098550"/>
                  <a:gd name="connsiteX72" fmla="*/ 1081250 w 1096962"/>
                  <a:gd name="connsiteY72" fmla="*/ 768668 h 1098550"/>
                  <a:gd name="connsiteX73" fmla="*/ 1096962 w 1096962"/>
                  <a:gd name="connsiteY73" fmla="*/ 784384 h 1098550"/>
                  <a:gd name="connsiteX74" fmla="*/ 1081250 w 1096962"/>
                  <a:gd name="connsiteY74" fmla="*/ 800100 h 1098550"/>
                  <a:gd name="connsiteX75" fmla="*/ 300664 w 1096962"/>
                  <a:gd name="connsiteY75" fmla="*/ 800100 h 1098550"/>
                  <a:gd name="connsiteX76" fmla="*/ 284953 w 1096962"/>
                  <a:gd name="connsiteY76" fmla="*/ 787241 h 1098550"/>
                  <a:gd name="connsiteX77" fmla="*/ 146404 w 1096962"/>
                  <a:gd name="connsiteY77" fmla="*/ 31432 h 1098550"/>
                  <a:gd name="connsiteX78" fmla="*/ 15711 w 1096962"/>
                  <a:gd name="connsiteY78" fmla="*/ 31432 h 1098550"/>
                  <a:gd name="connsiteX79" fmla="*/ 0 w 1096962"/>
                  <a:gd name="connsiteY79" fmla="*/ 15716 h 1098550"/>
                  <a:gd name="connsiteX80" fmla="*/ 15711 w 1096962"/>
                  <a:gd name="connsiteY8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96962" h="1098550">
                    <a:moveTo>
                      <a:pt x="931069" y="898524"/>
                    </a:moveTo>
                    <a:cubicBezTo>
                      <a:pt x="884163" y="898524"/>
                      <a:pt x="846138" y="936194"/>
                      <a:pt x="846138" y="982662"/>
                    </a:cubicBezTo>
                    <a:cubicBezTo>
                      <a:pt x="846138" y="1029130"/>
                      <a:pt x="884163" y="1066800"/>
                      <a:pt x="931069" y="1066800"/>
                    </a:cubicBezTo>
                    <a:cubicBezTo>
                      <a:pt x="977975" y="1066800"/>
                      <a:pt x="1016000" y="1029130"/>
                      <a:pt x="1016000" y="982662"/>
                    </a:cubicBezTo>
                    <a:cubicBezTo>
                      <a:pt x="1016000" y="936194"/>
                      <a:pt x="977975" y="898524"/>
                      <a:pt x="931069" y="898524"/>
                    </a:cubicBezTo>
                    <a:close/>
                    <a:moveTo>
                      <a:pt x="435769" y="898524"/>
                    </a:moveTo>
                    <a:cubicBezTo>
                      <a:pt x="388863" y="898524"/>
                      <a:pt x="350838" y="936194"/>
                      <a:pt x="350838" y="982662"/>
                    </a:cubicBezTo>
                    <a:cubicBezTo>
                      <a:pt x="350838" y="1029130"/>
                      <a:pt x="388863" y="1066800"/>
                      <a:pt x="435769" y="1066800"/>
                    </a:cubicBezTo>
                    <a:cubicBezTo>
                      <a:pt x="482675" y="1066800"/>
                      <a:pt x="520700" y="1029130"/>
                      <a:pt x="520700" y="982662"/>
                    </a:cubicBezTo>
                    <a:cubicBezTo>
                      <a:pt x="520700" y="936194"/>
                      <a:pt x="482675" y="898524"/>
                      <a:pt x="435769" y="898524"/>
                    </a:cubicBezTo>
                    <a:close/>
                    <a:moveTo>
                      <a:pt x="931069" y="866774"/>
                    </a:moveTo>
                    <a:cubicBezTo>
                      <a:pt x="995510" y="866774"/>
                      <a:pt x="1047750" y="918659"/>
                      <a:pt x="1047750" y="982662"/>
                    </a:cubicBezTo>
                    <a:cubicBezTo>
                      <a:pt x="1047750" y="1046665"/>
                      <a:pt x="995510" y="1098550"/>
                      <a:pt x="931069" y="1098550"/>
                    </a:cubicBezTo>
                    <a:cubicBezTo>
                      <a:pt x="866628" y="1098550"/>
                      <a:pt x="814388" y="1046665"/>
                      <a:pt x="814388" y="982662"/>
                    </a:cubicBezTo>
                    <a:cubicBezTo>
                      <a:pt x="814388" y="918659"/>
                      <a:pt x="866628" y="866774"/>
                      <a:pt x="931069" y="866774"/>
                    </a:cubicBezTo>
                    <a:close/>
                    <a:moveTo>
                      <a:pt x="435769" y="866774"/>
                    </a:moveTo>
                    <a:cubicBezTo>
                      <a:pt x="500210" y="866774"/>
                      <a:pt x="552450" y="918659"/>
                      <a:pt x="552450" y="982662"/>
                    </a:cubicBezTo>
                    <a:cubicBezTo>
                      <a:pt x="552450" y="1046665"/>
                      <a:pt x="500210" y="1098550"/>
                      <a:pt x="435769" y="1098550"/>
                    </a:cubicBezTo>
                    <a:cubicBezTo>
                      <a:pt x="371328" y="1098550"/>
                      <a:pt x="319088" y="1046665"/>
                      <a:pt x="319088" y="982662"/>
                    </a:cubicBezTo>
                    <a:cubicBezTo>
                      <a:pt x="319088" y="918659"/>
                      <a:pt x="371328" y="866774"/>
                      <a:pt x="435769" y="866774"/>
                    </a:cubicBezTo>
                    <a:close/>
                    <a:moveTo>
                      <a:pt x="887203" y="219075"/>
                    </a:moveTo>
                    <a:cubicBezTo>
                      <a:pt x="893637" y="219075"/>
                      <a:pt x="900071" y="221924"/>
                      <a:pt x="905075" y="226198"/>
                    </a:cubicBezTo>
                    <a:cubicBezTo>
                      <a:pt x="905075" y="226198"/>
                      <a:pt x="905075" y="226198"/>
                      <a:pt x="942250" y="263238"/>
                    </a:cubicBezTo>
                    <a:cubicBezTo>
                      <a:pt x="942250" y="263238"/>
                      <a:pt x="942250" y="263238"/>
                      <a:pt x="1043051" y="363672"/>
                    </a:cubicBezTo>
                    <a:cubicBezTo>
                      <a:pt x="1043051" y="363672"/>
                      <a:pt x="1043051" y="363672"/>
                      <a:pt x="1057349" y="377918"/>
                    </a:cubicBezTo>
                    <a:cubicBezTo>
                      <a:pt x="1058779" y="379342"/>
                      <a:pt x="1059494" y="380767"/>
                      <a:pt x="1060209" y="382191"/>
                    </a:cubicBezTo>
                    <a:cubicBezTo>
                      <a:pt x="1060209" y="382191"/>
                      <a:pt x="1060209" y="382191"/>
                      <a:pt x="1060924" y="382191"/>
                    </a:cubicBezTo>
                    <a:cubicBezTo>
                      <a:pt x="1061639" y="383616"/>
                      <a:pt x="1062354" y="385041"/>
                      <a:pt x="1063069" y="386465"/>
                    </a:cubicBezTo>
                    <a:cubicBezTo>
                      <a:pt x="1063069" y="386465"/>
                      <a:pt x="1063069" y="386465"/>
                      <a:pt x="1063069" y="387177"/>
                    </a:cubicBezTo>
                    <a:cubicBezTo>
                      <a:pt x="1063783" y="388602"/>
                      <a:pt x="1063783" y="390027"/>
                      <a:pt x="1064498" y="391451"/>
                    </a:cubicBezTo>
                    <a:cubicBezTo>
                      <a:pt x="1064498" y="392876"/>
                      <a:pt x="1065213" y="395013"/>
                      <a:pt x="1065213" y="396437"/>
                    </a:cubicBezTo>
                    <a:cubicBezTo>
                      <a:pt x="1065213" y="397862"/>
                      <a:pt x="1064498" y="399286"/>
                      <a:pt x="1064498" y="400711"/>
                    </a:cubicBezTo>
                    <a:cubicBezTo>
                      <a:pt x="1064498" y="400711"/>
                      <a:pt x="1064498" y="400711"/>
                      <a:pt x="1064498" y="401423"/>
                    </a:cubicBezTo>
                    <a:cubicBezTo>
                      <a:pt x="1063783" y="402136"/>
                      <a:pt x="1063783" y="403560"/>
                      <a:pt x="1063069" y="404985"/>
                    </a:cubicBezTo>
                    <a:cubicBezTo>
                      <a:pt x="1063069" y="404985"/>
                      <a:pt x="1063069" y="404985"/>
                      <a:pt x="1063069" y="405697"/>
                    </a:cubicBezTo>
                    <a:cubicBezTo>
                      <a:pt x="1062354" y="407122"/>
                      <a:pt x="1061639" y="408546"/>
                      <a:pt x="1060924" y="409971"/>
                    </a:cubicBezTo>
                    <a:cubicBezTo>
                      <a:pt x="1060924" y="409971"/>
                      <a:pt x="1060924" y="409971"/>
                      <a:pt x="1060209" y="410683"/>
                    </a:cubicBezTo>
                    <a:cubicBezTo>
                      <a:pt x="1059494" y="412108"/>
                      <a:pt x="1058779" y="412820"/>
                      <a:pt x="1057349" y="414245"/>
                    </a:cubicBezTo>
                    <a:cubicBezTo>
                      <a:pt x="1057349" y="414245"/>
                      <a:pt x="1057349" y="414245"/>
                      <a:pt x="1043051" y="428491"/>
                    </a:cubicBezTo>
                    <a:cubicBezTo>
                      <a:pt x="1043051" y="428491"/>
                      <a:pt x="1043051" y="428491"/>
                      <a:pt x="945825" y="525363"/>
                    </a:cubicBezTo>
                    <a:cubicBezTo>
                      <a:pt x="945825" y="525363"/>
                      <a:pt x="945825" y="525363"/>
                      <a:pt x="905075" y="565964"/>
                    </a:cubicBezTo>
                    <a:cubicBezTo>
                      <a:pt x="900071" y="570950"/>
                      <a:pt x="893637" y="573087"/>
                      <a:pt x="887203" y="573087"/>
                    </a:cubicBezTo>
                    <a:cubicBezTo>
                      <a:pt x="880054" y="573087"/>
                      <a:pt x="873620" y="570950"/>
                      <a:pt x="868616" y="565964"/>
                    </a:cubicBezTo>
                    <a:cubicBezTo>
                      <a:pt x="864326" y="560978"/>
                      <a:pt x="861467" y="554567"/>
                      <a:pt x="861467" y="548157"/>
                    </a:cubicBezTo>
                    <a:cubicBezTo>
                      <a:pt x="861467" y="541034"/>
                      <a:pt x="864326" y="534623"/>
                      <a:pt x="868616" y="529637"/>
                    </a:cubicBezTo>
                    <a:cubicBezTo>
                      <a:pt x="868616" y="529637"/>
                      <a:pt x="868616" y="529637"/>
                      <a:pt x="873620" y="525363"/>
                    </a:cubicBezTo>
                    <a:cubicBezTo>
                      <a:pt x="873620" y="525363"/>
                      <a:pt x="873620" y="525363"/>
                      <a:pt x="950829" y="448435"/>
                    </a:cubicBezTo>
                    <a:cubicBezTo>
                      <a:pt x="954404" y="444874"/>
                      <a:pt x="955833" y="439175"/>
                      <a:pt x="954404" y="433477"/>
                    </a:cubicBezTo>
                    <a:cubicBezTo>
                      <a:pt x="954404" y="432764"/>
                      <a:pt x="954404" y="432052"/>
                      <a:pt x="953689" y="431340"/>
                    </a:cubicBezTo>
                    <a:cubicBezTo>
                      <a:pt x="951544" y="425641"/>
                      <a:pt x="945825" y="421368"/>
                      <a:pt x="939391" y="421368"/>
                    </a:cubicBezTo>
                    <a:cubicBezTo>
                      <a:pt x="939391" y="421368"/>
                      <a:pt x="939391" y="421368"/>
                      <a:pt x="802845" y="421368"/>
                    </a:cubicBezTo>
                    <a:cubicBezTo>
                      <a:pt x="802845" y="421368"/>
                      <a:pt x="802845" y="421368"/>
                      <a:pt x="742078" y="421368"/>
                    </a:cubicBezTo>
                    <a:cubicBezTo>
                      <a:pt x="742078" y="421368"/>
                      <a:pt x="742078" y="421368"/>
                      <a:pt x="563353" y="421368"/>
                    </a:cubicBezTo>
                    <a:cubicBezTo>
                      <a:pt x="563353" y="421368"/>
                      <a:pt x="563353" y="421368"/>
                      <a:pt x="550485" y="421368"/>
                    </a:cubicBezTo>
                    <a:cubicBezTo>
                      <a:pt x="536902" y="421368"/>
                      <a:pt x="525463" y="409971"/>
                      <a:pt x="525463" y="396437"/>
                    </a:cubicBezTo>
                    <a:cubicBezTo>
                      <a:pt x="525463" y="382191"/>
                      <a:pt x="536902" y="370795"/>
                      <a:pt x="550485" y="370795"/>
                    </a:cubicBezTo>
                    <a:cubicBezTo>
                      <a:pt x="550485" y="370795"/>
                      <a:pt x="550485" y="370795"/>
                      <a:pt x="563353" y="370795"/>
                    </a:cubicBezTo>
                    <a:cubicBezTo>
                      <a:pt x="563353" y="370795"/>
                      <a:pt x="563353" y="370795"/>
                      <a:pt x="742078" y="370795"/>
                    </a:cubicBezTo>
                    <a:cubicBezTo>
                      <a:pt x="742078" y="370795"/>
                      <a:pt x="742078" y="370795"/>
                      <a:pt x="802845" y="370795"/>
                    </a:cubicBezTo>
                    <a:cubicBezTo>
                      <a:pt x="802845" y="370795"/>
                      <a:pt x="802845" y="370795"/>
                      <a:pt x="939391" y="370795"/>
                    </a:cubicBezTo>
                    <a:cubicBezTo>
                      <a:pt x="945825" y="370795"/>
                      <a:pt x="951544" y="366521"/>
                      <a:pt x="953689" y="360822"/>
                    </a:cubicBezTo>
                    <a:cubicBezTo>
                      <a:pt x="954404" y="359398"/>
                      <a:pt x="955119" y="357261"/>
                      <a:pt x="955119" y="355124"/>
                    </a:cubicBezTo>
                    <a:cubicBezTo>
                      <a:pt x="955119" y="350850"/>
                      <a:pt x="953689" y="346576"/>
                      <a:pt x="950829" y="343727"/>
                    </a:cubicBezTo>
                    <a:cubicBezTo>
                      <a:pt x="950829" y="343727"/>
                      <a:pt x="950829" y="343727"/>
                      <a:pt x="870045" y="263238"/>
                    </a:cubicBezTo>
                    <a:cubicBezTo>
                      <a:pt x="870045" y="263238"/>
                      <a:pt x="870045" y="263238"/>
                      <a:pt x="868616" y="262525"/>
                    </a:cubicBezTo>
                    <a:cubicBezTo>
                      <a:pt x="864326" y="257539"/>
                      <a:pt x="861467" y="251129"/>
                      <a:pt x="861467" y="244718"/>
                    </a:cubicBezTo>
                    <a:cubicBezTo>
                      <a:pt x="861467" y="237595"/>
                      <a:pt x="864326" y="231184"/>
                      <a:pt x="868616" y="226198"/>
                    </a:cubicBezTo>
                    <a:cubicBezTo>
                      <a:pt x="873620" y="221924"/>
                      <a:pt x="880054" y="219075"/>
                      <a:pt x="887203" y="219075"/>
                    </a:cubicBezTo>
                    <a:close/>
                    <a:moveTo>
                      <a:pt x="15711" y="0"/>
                    </a:moveTo>
                    <a:cubicBezTo>
                      <a:pt x="15711" y="0"/>
                      <a:pt x="15711" y="0"/>
                      <a:pt x="159259" y="0"/>
                    </a:cubicBezTo>
                    <a:cubicBezTo>
                      <a:pt x="167115" y="0"/>
                      <a:pt x="173543" y="5715"/>
                      <a:pt x="174971" y="12859"/>
                    </a:cubicBezTo>
                    <a:cubicBezTo>
                      <a:pt x="174971" y="12859"/>
                      <a:pt x="174971" y="12859"/>
                      <a:pt x="313520" y="768668"/>
                    </a:cubicBezTo>
                    <a:cubicBezTo>
                      <a:pt x="313520" y="768668"/>
                      <a:pt x="313520" y="768668"/>
                      <a:pt x="1081250" y="768668"/>
                    </a:cubicBezTo>
                    <a:cubicBezTo>
                      <a:pt x="1089821" y="768668"/>
                      <a:pt x="1096962" y="775811"/>
                      <a:pt x="1096962" y="784384"/>
                    </a:cubicBezTo>
                    <a:cubicBezTo>
                      <a:pt x="1096962" y="792956"/>
                      <a:pt x="1089821" y="800100"/>
                      <a:pt x="1081250" y="800100"/>
                    </a:cubicBezTo>
                    <a:cubicBezTo>
                      <a:pt x="1081250" y="800100"/>
                      <a:pt x="1081250" y="800100"/>
                      <a:pt x="300664" y="800100"/>
                    </a:cubicBezTo>
                    <a:cubicBezTo>
                      <a:pt x="292809" y="800100"/>
                      <a:pt x="286381" y="794385"/>
                      <a:pt x="284953" y="787241"/>
                    </a:cubicBezTo>
                    <a:cubicBezTo>
                      <a:pt x="284953" y="787241"/>
                      <a:pt x="284953" y="787241"/>
                      <a:pt x="146404" y="31432"/>
                    </a:cubicBezTo>
                    <a:cubicBezTo>
                      <a:pt x="146404" y="31432"/>
                      <a:pt x="146404" y="31432"/>
                      <a:pt x="15711" y="31432"/>
                    </a:cubicBezTo>
                    <a:cubicBezTo>
                      <a:pt x="7141" y="31432"/>
                      <a:pt x="0" y="24289"/>
                      <a:pt x="0" y="15716"/>
                    </a:cubicBezTo>
                    <a:cubicBezTo>
                      <a:pt x="0" y="7144"/>
                      <a:pt x="7141" y="0"/>
                      <a:pt x="1571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OOP"/>
                  <a:ea typeface="+mn-ea"/>
                  <a:cs typeface="+mn-cs"/>
                </a:endParaRPr>
              </a:p>
            </p:txBody>
          </p:sp>
        </p:grpSp>
      </p:grpSp>
      <p:grpSp>
        <p:nvGrpSpPr>
          <p:cNvPr id="19" name="bcgIcons_Center for Customer Insight ">
            <a:extLst>
              <a:ext uri="{FF2B5EF4-FFF2-40B4-BE49-F238E27FC236}">
                <a16:creationId xmlns:a16="http://schemas.microsoft.com/office/drawing/2014/main" id="{AE495F5A-E803-9D00-231A-203537C33EA1}"/>
              </a:ext>
            </a:extLst>
          </p:cNvPr>
          <p:cNvGrpSpPr>
            <a:grpSpLocks noChangeAspect="1"/>
          </p:cNvGrpSpPr>
          <p:nvPr/>
        </p:nvGrpSpPr>
        <p:grpSpPr>
          <a:xfrm>
            <a:off x="396331" y="1860046"/>
            <a:ext cx="1124402" cy="1124402"/>
            <a:chOff x="1981200" y="2606675"/>
            <a:chExt cx="1644650" cy="1644650"/>
          </a:xfrm>
        </p:grpSpPr>
        <p:sp>
          <p:nvSpPr>
            <p:cNvPr id="20" name="AutoShape 3">
              <a:extLst>
                <a:ext uri="{FF2B5EF4-FFF2-40B4-BE49-F238E27FC236}">
                  <a16:creationId xmlns:a16="http://schemas.microsoft.com/office/drawing/2014/main" id="{C6B3AA67-CF48-FE78-BA05-71D0DA63EF8F}"/>
                </a:ext>
              </a:extLst>
            </p:cNvPr>
            <p:cNvSpPr>
              <a:spLocks noChangeAspect="1" noChangeArrowheads="1" noTextEdit="1"/>
            </p:cNvSpPr>
            <p:nvPr/>
          </p:nvSpPr>
          <p:spPr bwMode="auto">
            <a:xfrm>
              <a:off x="1981200"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OOP"/>
                <a:ea typeface="+mn-ea"/>
                <a:cs typeface="+mn-cs"/>
              </a:endParaRPr>
            </a:p>
          </p:txBody>
        </p:sp>
        <p:grpSp>
          <p:nvGrpSpPr>
            <p:cNvPr id="21" name="Group 22">
              <a:extLst>
                <a:ext uri="{FF2B5EF4-FFF2-40B4-BE49-F238E27FC236}">
                  <a16:creationId xmlns:a16="http://schemas.microsoft.com/office/drawing/2014/main" id="{42FB1CF8-AEB7-D28C-6A04-E5F824E89151}"/>
                </a:ext>
              </a:extLst>
            </p:cNvPr>
            <p:cNvGrpSpPr/>
            <p:nvPr/>
          </p:nvGrpSpPr>
          <p:grpSpPr>
            <a:xfrm>
              <a:off x="2151063" y="2784475"/>
              <a:ext cx="1304925" cy="1287463"/>
              <a:chOff x="2151063" y="2784475"/>
              <a:chExt cx="1304925" cy="1287463"/>
            </a:xfrm>
          </p:grpSpPr>
          <p:sp>
            <p:nvSpPr>
              <p:cNvPr id="22" name="Freeform 5">
                <a:extLst>
                  <a:ext uri="{FF2B5EF4-FFF2-40B4-BE49-F238E27FC236}">
                    <a16:creationId xmlns:a16="http://schemas.microsoft.com/office/drawing/2014/main" id="{E407ADF4-041F-4769-2A66-4BFE7F0D11A7}"/>
                  </a:ext>
                </a:extLst>
              </p:cNvPr>
              <p:cNvSpPr>
                <a:spLocks noEditPoints="1"/>
              </p:cNvSpPr>
              <p:nvPr/>
            </p:nvSpPr>
            <p:spPr bwMode="auto">
              <a:xfrm>
                <a:off x="2257425" y="2900363"/>
                <a:ext cx="1081088" cy="1171575"/>
              </a:xfrm>
              <a:custGeom>
                <a:avLst/>
                <a:gdLst>
                  <a:gd name="T0" fmla="*/ 467 w 1513"/>
                  <a:gd name="T1" fmla="*/ 934 h 1642"/>
                  <a:gd name="T2" fmla="*/ 763 w 1513"/>
                  <a:gd name="T3" fmla="*/ 1269 h 1642"/>
                  <a:gd name="T4" fmla="*/ 1058 w 1513"/>
                  <a:gd name="T5" fmla="*/ 934 h 1642"/>
                  <a:gd name="T6" fmla="*/ 1103 w 1513"/>
                  <a:gd name="T7" fmla="*/ 886 h 1642"/>
                  <a:gd name="T8" fmla="*/ 1153 w 1513"/>
                  <a:gd name="T9" fmla="*/ 866 h 1642"/>
                  <a:gd name="T10" fmla="*/ 981 w 1513"/>
                  <a:gd name="T11" fmla="*/ 1201 h 1642"/>
                  <a:gd name="T12" fmla="*/ 971 w 1513"/>
                  <a:gd name="T13" fmla="*/ 1274 h 1642"/>
                  <a:gd name="T14" fmla="*/ 938 w 1513"/>
                  <a:gd name="T15" fmla="*/ 1237 h 1642"/>
                  <a:gd name="T16" fmla="*/ 588 w 1513"/>
                  <a:gd name="T17" fmla="*/ 1237 h 1642"/>
                  <a:gd name="T18" fmla="*/ 555 w 1513"/>
                  <a:gd name="T19" fmla="*/ 1275 h 1642"/>
                  <a:gd name="T20" fmla="*/ 545 w 1513"/>
                  <a:gd name="T21" fmla="*/ 1201 h 1642"/>
                  <a:gd name="T22" fmla="*/ 373 w 1513"/>
                  <a:gd name="T23" fmla="*/ 868 h 1642"/>
                  <a:gd name="T24" fmla="*/ 423 w 1513"/>
                  <a:gd name="T25" fmla="*/ 886 h 1642"/>
                  <a:gd name="T26" fmla="*/ 1509 w 1513"/>
                  <a:gd name="T27" fmla="*/ 1617 h 1642"/>
                  <a:gd name="T28" fmla="*/ 1007 w 1513"/>
                  <a:gd name="T29" fmla="*/ 1300 h 1642"/>
                  <a:gd name="T30" fmla="*/ 967 w 1513"/>
                  <a:gd name="T31" fmla="*/ 1340 h 1642"/>
                  <a:gd name="T32" fmla="*/ 768 w 1513"/>
                  <a:gd name="T33" fmla="*/ 1416 h 1642"/>
                  <a:gd name="T34" fmla="*/ 764 w 1513"/>
                  <a:gd name="T35" fmla="*/ 1416 h 1642"/>
                  <a:gd name="T36" fmla="*/ 546 w 1513"/>
                  <a:gd name="T37" fmla="*/ 1328 h 1642"/>
                  <a:gd name="T38" fmla="*/ 199 w 1513"/>
                  <a:gd name="T39" fmla="*/ 1355 h 1642"/>
                  <a:gd name="T40" fmla="*/ 36 w 1513"/>
                  <a:gd name="T41" fmla="*/ 1642 h 1642"/>
                  <a:gd name="T42" fmla="*/ 1509 w 1513"/>
                  <a:gd name="T43" fmla="*/ 1617 h 1642"/>
                  <a:gd name="T44" fmla="*/ 1423 w 1513"/>
                  <a:gd name="T45" fmla="*/ 379 h 1642"/>
                  <a:gd name="T46" fmla="*/ 1451 w 1513"/>
                  <a:gd name="T47" fmla="*/ 562 h 1642"/>
                  <a:gd name="T48" fmla="*/ 1144 w 1513"/>
                  <a:gd name="T49" fmla="*/ 89 h 1642"/>
                  <a:gd name="T50" fmla="*/ 958 w 1513"/>
                  <a:gd name="T51" fmla="*/ 53 h 1642"/>
                  <a:gd name="T52" fmla="*/ 1144 w 1513"/>
                  <a:gd name="T53" fmla="*/ 89 h 1642"/>
                  <a:gd name="T54" fmla="*/ 566 w 1513"/>
                  <a:gd name="T55" fmla="*/ 43 h 1642"/>
                  <a:gd name="T56" fmla="*/ 371 w 1513"/>
                  <a:gd name="T57" fmla="*/ 76 h 1642"/>
                  <a:gd name="T58" fmla="*/ 399 w 1513"/>
                  <a:gd name="T59" fmla="*/ 110 h 1642"/>
                  <a:gd name="T60" fmla="*/ 86 w 1513"/>
                  <a:gd name="T61" fmla="*/ 363 h 1642"/>
                  <a:gd name="T62" fmla="*/ 0 w 1513"/>
                  <a:gd name="T63" fmla="*/ 551 h 1642"/>
                  <a:gd name="T64" fmla="*/ 44 w 1513"/>
                  <a:gd name="T65" fmla="*/ 55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3" h="1642">
                    <a:moveTo>
                      <a:pt x="457" y="924"/>
                    </a:moveTo>
                    <a:cubicBezTo>
                      <a:pt x="462" y="926"/>
                      <a:pt x="465" y="929"/>
                      <a:pt x="467" y="934"/>
                    </a:cubicBezTo>
                    <a:cubicBezTo>
                      <a:pt x="502" y="1024"/>
                      <a:pt x="561" y="1159"/>
                      <a:pt x="582" y="1178"/>
                    </a:cubicBezTo>
                    <a:cubicBezTo>
                      <a:pt x="617" y="1209"/>
                      <a:pt x="712" y="1269"/>
                      <a:pt x="763" y="1269"/>
                    </a:cubicBezTo>
                    <a:cubicBezTo>
                      <a:pt x="814" y="1269"/>
                      <a:pt x="909" y="1209"/>
                      <a:pt x="944" y="1178"/>
                    </a:cubicBezTo>
                    <a:cubicBezTo>
                      <a:pt x="965" y="1159"/>
                      <a:pt x="1023" y="1024"/>
                      <a:pt x="1058" y="934"/>
                    </a:cubicBezTo>
                    <a:cubicBezTo>
                      <a:pt x="1060" y="929"/>
                      <a:pt x="1064" y="926"/>
                      <a:pt x="1069" y="924"/>
                    </a:cubicBezTo>
                    <a:cubicBezTo>
                      <a:pt x="1087" y="914"/>
                      <a:pt x="1097" y="899"/>
                      <a:pt x="1103" y="886"/>
                    </a:cubicBezTo>
                    <a:cubicBezTo>
                      <a:pt x="1103" y="886"/>
                      <a:pt x="1103" y="886"/>
                      <a:pt x="1153" y="862"/>
                    </a:cubicBezTo>
                    <a:cubicBezTo>
                      <a:pt x="1153" y="863"/>
                      <a:pt x="1153" y="865"/>
                      <a:pt x="1153" y="866"/>
                    </a:cubicBezTo>
                    <a:cubicBezTo>
                      <a:pt x="1150" y="886"/>
                      <a:pt x="1139" y="931"/>
                      <a:pt x="1095" y="958"/>
                    </a:cubicBezTo>
                    <a:cubicBezTo>
                      <a:pt x="1078" y="1003"/>
                      <a:pt x="1017" y="1153"/>
                      <a:pt x="981" y="1201"/>
                    </a:cubicBezTo>
                    <a:cubicBezTo>
                      <a:pt x="981" y="1201"/>
                      <a:pt x="981" y="1201"/>
                      <a:pt x="981" y="1265"/>
                    </a:cubicBezTo>
                    <a:cubicBezTo>
                      <a:pt x="977" y="1267"/>
                      <a:pt x="974" y="1271"/>
                      <a:pt x="971" y="1274"/>
                    </a:cubicBezTo>
                    <a:cubicBezTo>
                      <a:pt x="970" y="1276"/>
                      <a:pt x="958" y="1291"/>
                      <a:pt x="938" y="1308"/>
                    </a:cubicBezTo>
                    <a:cubicBezTo>
                      <a:pt x="938" y="1308"/>
                      <a:pt x="938" y="1308"/>
                      <a:pt x="938" y="1237"/>
                    </a:cubicBezTo>
                    <a:cubicBezTo>
                      <a:pt x="888" y="1271"/>
                      <a:pt x="814" y="1312"/>
                      <a:pt x="763" y="1312"/>
                    </a:cubicBezTo>
                    <a:cubicBezTo>
                      <a:pt x="712" y="1312"/>
                      <a:pt x="638" y="1271"/>
                      <a:pt x="588" y="1237"/>
                    </a:cubicBezTo>
                    <a:cubicBezTo>
                      <a:pt x="588" y="1237"/>
                      <a:pt x="588" y="1237"/>
                      <a:pt x="588" y="1309"/>
                    </a:cubicBezTo>
                    <a:cubicBezTo>
                      <a:pt x="567" y="1291"/>
                      <a:pt x="555" y="1275"/>
                      <a:pt x="555" y="1275"/>
                    </a:cubicBezTo>
                    <a:cubicBezTo>
                      <a:pt x="552" y="1271"/>
                      <a:pt x="549" y="1268"/>
                      <a:pt x="545" y="1265"/>
                    </a:cubicBezTo>
                    <a:cubicBezTo>
                      <a:pt x="545" y="1265"/>
                      <a:pt x="545" y="1265"/>
                      <a:pt x="545" y="1201"/>
                    </a:cubicBezTo>
                    <a:cubicBezTo>
                      <a:pt x="509" y="1154"/>
                      <a:pt x="448" y="1003"/>
                      <a:pt x="430" y="958"/>
                    </a:cubicBezTo>
                    <a:cubicBezTo>
                      <a:pt x="390" y="933"/>
                      <a:pt x="377" y="891"/>
                      <a:pt x="373" y="868"/>
                    </a:cubicBezTo>
                    <a:cubicBezTo>
                      <a:pt x="373" y="866"/>
                      <a:pt x="373" y="864"/>
                      <a:pt x="373" y="862"/>
                    </a:cubicBezTo>
                    <a:cubicBezTo>
                      <a:pt x="373" y="862"/>
                      <a:pt x="373" y="862"/>
                      <a:pt x="423" y="886"/>
                    </a:cubicBezTo>
                    <a:cubicBezTo>
                      <a:pt x="429" y="899"/>
                      <a:pt x="438" y="914"/>
                      <a:pt x="457" y="924"/>
                    </a:cubicBezTo>
                    <a:close/>
                    <a:moveTo>
                      <a:pt x="1509" y="1617"/>
                    </a:moveTo>
                    <a:cubicBezTo>
                      <a:pt x="1486" y="1555"/>
                      <a:pt x="1420" y="1396"/>
                      <a:pt x="1329" y="1355"/>
                    </a:cubicBezTo>
                    <a:cubicBezTo>
                      <a:pt x="1216" y="1302"/>
                      <a:pt x="1007" y="1300"/>
                      <a:pt x="1007" y="1300"/>
                    </a:cubicBezTo>
                    <a:cubicBezTo>
                      <a:pt x="1007" y="1300"/>
                      <a:pt x="998" y="1311"/>
                      <a:pt x="982" y="1328"/>
                    </a:cubicBezTo>
                    <a:cubicBezTo>
                      <a:pt x="977" y="1332"/>
                      <a:pt x="972" y="1336"/>
                      <a:pt x="967" y="1340"/>
                    </a:cubicBezTo>
                    <a:cubicBezTo>
                      <a:pt x="928" y="1373"/>
                      <a:pt x="860" y="1415"/>
                      <a:pt x="764" y="1416"/>
                    </a:cubicBezTo>
                    <a:cubicBezTo>
                      <a:pt x="765" y="1416"/>
                      <a:pt x="767" y="1416"/>
                      <a:pt x="768" y="1416"/>
                    </a:cubicBezTo>
                    <a:cubicBezTo>
                      <a:pt x="760" y="1416"/>
                      <a:pt x="760" y="1416"/>
                      <a:pt x="760" y="1416"/>
                    </a:cubicBezTo>
                    <a:cubicBezTo>
                      <a:pt x="761" y="1416"/>
                      <a:pt x="763" y="1416"/>
                      <a:pt x="764" y="1416"/>
                    </a:cubicBezTo>
                    <a:cubicBezTo>
                      <a:pt x="668" y="1415"/>
                      <a:pt x="600" y="1373"/>
                      <a:pt x="561" y="1340"/>
                    </a:cubicBezTo>
                    <a:cubicBezTo>
                      <a:pt x="556" y="1336"/>
                      <a:pt x="551" y="1332"/>
                      <a:pt x="546" y="1328"/>
                    </a:cubicBezTo>
                    <a:cubicBezTo>
                      <a:pt x="530" y="1311"/>
                      <a:pt x="521" y="1300"/>
                      <a:pt x="521" y="1300"/>
                    </a:cubicBezTo>
                    <a:cubicBezTo>
                      <a:pt x="521" y="1300"/>
                      <a:pt x="312" y="1302"/>
                      <a:pt x="199" y="1355"/>
                    </a:cubicBezTo>
                    <a:cubicBezTo>
                      <a:pt x="108" y="1396"/>
                      <a:pt x="42" y="1555"/>
                      <a:pt x="19" y="1617"/>
                    </a:cubicBezTo>
                    <a:cubicBezTo>
                      <a:pt x="15" y="1629"/>
                      <a:pt x="24" y="1642"/>
                      <a:pt x="36" y="1642"/>
                    </a:cubicBezTo>
                    <a:cubicBezTo>
                      <a:pt x="1492" y="1642"/>
                      <a:pt x="1492" y="1642"/>
                      <a:pt x="1492" y="1642"/>
                    </a:cubicBezTo>
                    <a:cubicBezTo>
                      <a:pt x="1505" y="1642"/>
                      <a:pt x="1513" y="1629"/>
                      <a:pt x="1509" y="1617"/>
                    </a:cubicBezTo>
                    <a:close/>
                    <a:moveTo>
                      <a:pt x="1493" y="552"/>
                    </a:moveTo>
                    <a:cubicBezTo>
                      <a:pt x="1476" y="491"/>
                      <a:pt x="1453" y="433"/>
                      <a:pt x="1423" y="379"/>
                    </a:cubicBezTo>
                    <a:cubicBezTo>
                      <a:pt x="1412" y="388"/>
                      <a:pt x="1399" y="396"/>
                      <a:pt x="1387" y="401"/>
                    </a:cubicBezTo>
                    <a:cubicBezTo>
                      <a:pt x="1414" y="452"/>
                      <a:pt x="1436" y="505"/>
                      <a:pt x="1451" y="562"/>
                    </a:cubicBezTo>
                    <a:cubicBezTo>
                      <a:pt x="1464" y="557"/>
                      <a:pt x="1478" y="554"/>
                      <a:pt x="1493" y="552"/>
                    </a:cubicBezTo>
                    <a:close/>
                    <a:moveTo>
                      <a:pt x="1144" y="89"/>
                    </a:moveTo>
                    <a:cubicBezTo>
                      <a:pt x="1088" y="56"/>
                      <a:pt x="1029" y="30"/>
                      <a:pt x="965" y="10"/>
                    </a:cubicBezTo>
                    <a:cubicBezTo>
                      <a:pt x="964" y="25"/>
                      <a:pt x="961" y="39"/>
                      <a:pt x="958" y="53"/>
                    </a:cubicBezTo>
                    <a:cubicBezTo>
                      <a:pt x="1015" y="70"/>
                      <a:pt x="1070" y="95"/>
                      <a:pt x="1120" y="124"/>
                    </a:cubicBezTo>
                    <a:cubicBezTo>
                      <a:pt x="1127" y="112"/>
                      <a:pt x="1136" y="100"/>
                      <a:pt x="1144" y="89"/>
                    </a:cubicBezTo>
                    <a:close/>
                    <a:moveTo>
                      <a:pt x="399" y="110"/>
                    </a:moveTo>
                    <a:cubicBezTo>
                      <a:pt x="451" y="81"/>
                      <a:pt x="507" y="58"/>
                      <a:pt x="566" y="43"/>
                    </a:cubicBezTo>
                    <a:cubicBezTo>
                      <a:pt x="563" y="30"/>
                      <a:pt x="561" y="15"/>
                      <a:pt x="561" y="0"/>
                    </a:cubicBezTo>
                    <a:cubicBezTo>
                      <a:pt x="494" y="17"/>
                      <a:pt x="430" y="42"/>
                      <a:pt x="371" y="76"/>
                    </a:cubicBezTo>
                    <a:cubicBezTo>
                      <a:pt x="372" y="76"/>
                      <a:pt x="372" y="77"/>
                      <a:pt x="372" y="77"/>
                    </a:cubicBezTo>
                    <a:cubicBezTo>
                      <a:pt x="383" y="87"/>
                      <a:pt x="392" y="98"/>
                      <a:pt x="399" y="110"/>
                    </a:cubicBezTo>
                    <a:close/>
                    <a:moveTo>
                      <a:pt x="114" y="387"/>
                    </a:moveTo>
                    <a:cubicBezTo>
                      <a:pt x="105" y="380"/>
                      <a:pt x="95" y="372"/>
                      <a:pt x="86" y="363"/>
                    </a:cubicBezTo>
                    <a:cubicBezTo>
                      <a:pt x="85" y="362"/>
                      <a:pt x="83" y="360"/>
                      <a:pt x="82" y="359"/>
                    </a:cubicBezTo>
                    <a:cubicBezTo>
                      <a:pt x="46" y="417"/>
                      <a:pt x="19" y="482"/>
                      <a:pt x="0" y="551"/>
                    </a:cubicBezTo>
                    <a:cubicBezTo>
                      <a:pt x="3" y="551"/>
                      <a:pt x="5" y="551"/>
                      <a:pt x="8" y="551"/>
                    </a:cubicBezTo>
                    <a:cubicBezTo>
                      <a:pt x="20" y="551"/>
                      <a:pt x="32" y="552"/>
                      <a:pt x="44" y="553"/>
                    </a:cubicBezTo>
                    <a:cubicBezTo>
                      <a:pt x="61" y="495"/>
                      <a:pt x="84" y="439"/>
                      <a:pt x="114" y="38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COOP"/>
                  <a:ea typeface="+mn-ea"/>
                  <a:cs typeface="+mn-cs"/>
                </a:endParaRPr>
              </a:p>
            </p:txBody>
          </p:sp>
          <p:sp>
            <p:nvSpPr>
              <p:cNvPr id="23" name="Freeform 6">
                <a:extLst>
                  <a:ext uri="{FF2B5EF4-FFF2-40B4-BE49-F238E27FC236}">
                    <a16:creationId xmlns:a16="http://schemas.microsoft.com/office/drawing/2014/main" id="{7037EE45-FCD5-AD2F-F941-AC3477D439C0}"/>
                  </a:ext>
                </a:extLst>
              </p:cNvPr>
              <p:cNvSpPr>
                <a:spLocks noEditPoints="1"/>
              </p:cNvSpPr>
              <p:nvPr/>
            </p:nvSpPr>
            <p:spPr bwMode="auto">
              <a:xfrm>
                <a:off x="2151063" y="2784475"/>
                <a:ext cx="1304925" cy="766763"/>
              </a:xfrm>
              <a:custGeom>
                <a:avLst/>
                <a:gdLst>
                  <a:gd name="T0" fmla="*/ 1239 w 1828"/>
                  <a:gd name="T1" fmla="*/ 1026 h 1074"/>
                  <a:gd name="T2" fmla="*/ 585 w 1828"/>
                  <a:gd name="T3" fmla="*/ 1019 h 1074"/>
                  <a:gd name="T4" fmla="*/ 915 w 1828"/>
                  <a:gd name="T5" fmla="*/ 322 h 1074"/>
                  <a:gd name="T6" fmla="*/ 1074 w 1828"/>
                  <a:gd name="T7" fmla="*/ 161 h 1074"/>
                  <a:gd name="T8" fmla="*/ 826 w 1828"/>
                  <a:gd name="T9" fmla="*/ 143 h 1074"/>
                  <a:gd name="T10" fmla="*/ 920 w 1828"/>
                  <a:gd name="T11" fmla="*/ 184 h 1074"/>
                  <a:gd name="T12" fmla="*/ 929 w 1828"/>
                  <a:gd name="T13" fmla="*/ 203 h 1074"/>
                  <a:gd name="T14" fmla="*/ 1001 w 1828"/>
                  <a:gd name="T15" fmla="*/ 233 h 1074"/>
                  <a:gd name="T16" fmla="*/ 949 w 1828"/>
                  <a:gd name="T17" fmla="*/ 181 h 1074"/>
                  <a:gd name="T18" fmla="*/ 849 w 1828"/>
                  <a:gd name="T19" fmla="*/ 62 h 1074"/>
                  <a:gd name="T20" fmla="*/ 928 w 1828"/>
                  <a:gd name="T21" fmla="*/ 92 h 1074"/>
                  <a:gd name="T22" fmla="*/ 853 w 1828"/>
                  <a:gd name="T23" fmla="*/ 149 h 1074"/>
                  <a:gd name="T24" fmla="*/ 1449 w 1828"/>
                  <a:gd name="T25" fmla="*/ 448 h 1074"/>
                  <a:gd name="T26" fmla="*/ 1473 w 1828"/>
                  <a:gd name="T27" fmla="*/ 398 h 1074"/>
                  <a:gd name="T28" fmla="*/ 1449 w 1828"/>
                  <a:gd name="T29" fmla="*/ 411 h 1074"/>
                  <a:gd name="T30" fmla="*/ 1337 w 1828"/>
                  <a:gd name="T31" fmla="*/ 495 h 1074"/>
                  <a:gd name="T32" fmla="*/ 1561 w 1828"/>
                  <a:gd name="T33" fmla="*/ 271 h 1074"/>
                  <a:gd name="T34" fmla="*/ 1522 w 1828"/>
                  <a:gd name="T35" fmla="*/ 461 h 1074"/>
                  <a:gd name="T36" fmla="*/ 1341 w 1828"/>
                  <a:gd name="T37" fmla="*/ 383 h 1074"/>
                  <a:gd name="T38" fmla="*/ 288 w 1828"/>
                  <a:gd name="T39" fmla="*/ 512 h 1074"/>
                  <a:gd name="T40" fmla="*/ 485 w 1828"/>
                  <a:gd name="T41" fmla="*/ 263 h 1074"/>
                  <a:gd name="T42" fmla="*/ 322 w 1828"/>
                  <a:gd name="T43" fmla="*/ 400 h 1074"/>
                  <a:gd name="T44" fmla="*/ 283 w 1828"/>
                  <a:gd name="T45" fmla="*/ 466 h 1074"/>
                  <a:gd name="T46" fmla="*/ 322 w 1828"/>
                  <a:gd name="T47" fmla="*/ 466 h 1074"/>
                  <a:gd name="T48" fmla="*/ 335 w 1828"/>
                  <a:gd name="T49" fmla="*/ 369 h 1074"/>
                  <a:gd name="T50" fmla="*/ 335 w 1828"/>
                  <a:gd name="T51" fmla="*/ 471 h 1074"/>
                  <a:gd name="T52" fmla="*/ 416 w 1828"/>
                  <a:gd name="T53" fmla="*/ 342 h 1074"/>
                  <a:gd name="T54" fmla="*/ 377 w 1828"/>
                  <a:gd name="T55" fmla="*/ 344 h 1074"/>
                  <a:gd name="T56" fmla="*/ 416 w 1828"/>
                  <a:gd name="T57" fmla="*/ 466 h 1074"/>
                  <a:gd name="T58" fmla="*/ 437 w 1828"/>
                  <a:gd name="T59" fmla="*/ 295 h 1074"/>
                  <a:gd name="T60" fmla="*/ 423 w 1828"/>
                  <a:gd name="T61" fmla="*/ 466 h 1074"/>
                  <a:gd name="T62" fmla="*/ 1668 w 1828"/>
                  <a:gd name="T63" fmla="*/ 757 h 1074"/>
                  <a:gd name="T64" fmla="*/ 1652 w 1828"/>
                  <a:gd name="T65" fmla="*/ 758 h 1074"/>
                  <a:gd name="T66" fmla="*/ 1638 w 1828"/>
                  <a:gd name="T67" fmla="*/ 1006 h 1074"/>
                  <a:gd name="T68" fmla="*/ 1671 w 1828"/>
                  <a:gd name="T69" fmla="*/ 1027 h 1074"/>
                  <a:gd name="T70" fmla="*/ 1703 w 1828"/>
                  <a:gd name="T71" fmla="*/ 987 h 1074"/>
                  <a:gd name="T72" fmla="*/ 1703 w 1828"/>
                  <a:gd name="T73" fmla="*/ 979 h 1074"/>
                  <a:gd name="T74" fmla="*/ 1633 w 1828"/>
                  <a:gd name="T75" fmla="*/ 979 h 1074"/>
                  <a:gd name="T76" fmla="*/ 1660 w 1828"/>
                  <a:gd name="T77" fmla="*/ 805 h 1074"/>
                  <a:gd name="T78" fmla="*/ 1634 w 1828"/>
                  <a:gd name="T79" fmla="*/ 946 h 1074"/>
                  <a:gd name="T80" fmla="*/ 1673 w 1828"/>
                  <a:gd name="T81" fmla="*/ 918 h 1074"/>
                  <a:gd name="T82" fmla="*/ 1667 w 1828"/>
                  <a:gd name="T83" fmla="*/ 897 h 1074"/>
                  <a:gd name="T84" fmla="*/ 1654 w 1828"/>
                  <a:gd name="T85" fmla="*/ 887 h 1074"/>
                  <a:gd name="T86" fmla="*/ 1670 w 1828"/>
                  <a:gd name="T87" fmla="*/ 886 h 1074"/>
                  <a:gd name="T88" fmla="*/ 1686 w 1828"/>
                  <a:gd name="T89" fmla="*/ 908 h 1074"/>
                  <a:gd name="T90" fmla="*/ 1703 w 1828"/>
                  <a:gd name="T91" fmla="*/ 960 h 1074"/>
                  <a:gd name="T92" fmla="*/ 319 w 1828"/>
                  <a:gd name="T93" fmla="*/ 915 h 1074"/>
                  <a:gd name="T94" fmla="*/ 185 w 1828"/>
                  <a:gd name="T95" fmla="*/ 759 h 1074"/>
                  <a:gd name="T96" fmla="*/ 170 w 1828"/>
                  <a:gd name="T97" fmla="*/ 902 h 1074"/>
                  <a:gd name="T98" fmla="*/ 171 w 1828"/>
                  <a:gd name="T99" fmla="*/ 856 h 1074"/>
                  <a:gd name="T100" fmla="*/ 170 w 1828"/>
                  <a:gd name="T101" fmla="*/ 814 h 1074"/>
                  <a:gd name="T102" fmla="*/ 112 w 1828"/>
                  <a:gd name="T103" fmla="*/ 874 h 1074"/>
                  <a:gd name="T104" fmla="*/ 149 w 1828"/>
                  <a:gd name="T105" fmla="*/ 920 h 1074"/>
                  <a:gd name="T106" fmla="*/ 111 w 1828"/>
                  <a:gd name="T107" fmla="*/ 983 h 1074"/>
                  <a:gd name="T108" fmla="*/ 198 w 1828"/>
                  <a:gd name="T109" fmla="*/ 977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8" h="1074">
                    <a:moveTo>
                      <a:pt x="914" y="444"/>
                    </a:moveTo>
                    <a:cubicBezTo>
                      <a:pt x="1130" y="444"/>
                      <a:pt x="1296" y="619"/>
                      <a:pt x="1296" y="834"/>
                    </a:cubicBezTo>
                    <a:cubicBezTo>
                      <a:pt x="1296" y="880"/>
                      <a:pt x="1297" y="925"/>
                      <a:pt x="1283" y="966"/>
                    </a:cubicBezTo>
                    <a:cubicBezTo>
                      <a:pt x="1283" y="965"/>
                      <a:pt x="1283" y="965"/>
                      <a:pt x="1283" y="965"/>
                    </a:cubicBezTo>
                    <a:cubicBezTo>
                      <a:pt x="1282" y="966"/>
                      <a:pt x="1275" y="986"/>
                      <a:pt x="1239" y="1026"/>
                    </a:cubicBezTo>
                    <a:cubicBezTo>
                      <a:pt x="1239" y="1026"/>
                      <a:pt x="1239" y="1026"/>
                      <a:pt x="1212" y="1026"/>
                    </a:cubicBezTo>
                    <a:cubicBezTo>
                      <a:pt x="1212" y="1026"/>
                      <a:pt x="1212" y="1012"/>
                      <a:pt x="1208" y="739"/>
                    </a:cubicBezTo>
                    <a:cubicBezTo>
                      <a:pt x="1164" y="958"/>
                      <a:pt x="704" y="757"/>
                      <a:pt x="704" y="757"/>
                    </a:cubicBezTo>
                    <a:cubicBezTo>
                      <a:pt x="590" y="792"/>
                      <a:pt x="610" y="1022"/>
                      <a:pt x="610" y="1022"/>
                    </a:cubicBezTo>
                    <a:cubicBezTo>
                      <a:pt x="610" y="1022"/>
                      <a:pt x="610" y="1022"/>
                      <a:pt x="585" y="1019"/>
                    </a:cubicBezTo>
                    <a:cubicBezTo>
                      <a:pt x="585" y="1019"/>
                      <a:pt x="585" y="1005"/>
                      <a:pt x="546" y="970"/>
                    </a:cubicBezTo>
                    <a:cubicBezTo>
                      <a:pt x="546" y="970"/>
                      <a:pt x="546" y="970"/>
                      <a:pt x="546" y="970"/>
                    </a:cubicBezTo>
                    <a:cubicBezTo>
                      <a:pt x="531" y="928"/>
                      <a:pt x="532" y="882"/>
                      <a:pt x="532" y="834"/>
                    </a:cubicBezTo>
                    <a:cubicBezTo>
                      <a:pt x="532" y="619"/>
                      <a:pt x="697" y="444"/>
                      <a:pt x="914" y="444"/>
                    </a:cubicBezTo>
                    <a:close/>
                    <a:moveTo>
                      <a:pt x="915" y="322"/>
                    </a:moveTo>
                    <a:cubicBezTo>
                      <a:pt x="840" y="322"/>
                      <a:pt x="777" y="268"/>
                      <a:pt x="760" y="196"/>
                    </a:cubicBezTo>
                    <a:cubicBezTo>
                      <a:pt x="757" y="185"/>
                      <a:pt x="756" y="173"/>
                      <a:pt x="756" y="161"/>
                    </a:cubicBezTo>
                    <a:cubicBezTo>
                      <a:pt x="756" y="158"/>
                      <a:pt x="756" y="156"/>
                      <a:pt x="756" y="153"/>
                    </a:cubicBezTo>
                    <a:cubicBezTo>
                      <a:pt x="760" y="68"/>
                      <a:pt x="830" y="0"/>
                      <a:pt x="915" y="0"/>
                    </a:cubicBezTo>
                    <a:cubicBezTo>
                      <a:pt x="1003" y="0"/>
                      <a:pt x="1074" y="72"/>
                      <a:pt x="1074" y="161"/>
                    </a:cubicBezTo>
                    <a:cubicBezTo>
                      <a:pt x="1074" y="161"/>
                      <a:pt x="1074" y="161"/>
                      <a:pt x="1074" y="161"/>
                    </a:cubicBezTo>
                    <a:cubicBezTo>
                      <a:pt x="1074" y="176"/>
                      <a:pt x="1072" y="189"/>
                      <a:pt x="1068" y="203"/>
                    </a:cubicBezTo>
                    <a:cubicBezTo>
                      <a:pt x="1049" y="272"/>
                      <a:pt x="988" y="322"/>
                      <a:pt x="915" y="322"/>
                    </a:cubicBezTo>
                    <a:close/>
                    <a:moveTo>
                      <a:pt x="822" y="109"/>
                    </a:moveTo>
                    <a:cubicBezTo>
                      <a:pt x="821" y="121"/>
                      <a:pt x="822" y="133"/>
                      <a:pt x="826" y="143"/>
                    </a:cubicBezTo>
                    <a:cubicBezTo>
                      <a:pt x="829" y="150"/>
                      <a:pt x="832" y="156"/>
                      <a:pt x="836" y="162"/>
                    </a:cubicBezTo>
                    <a:cubicBezTo>
                      <a:pt x="843" y="172"/>
                      <a:pt x="853" y="179"/>
                      <a:pt x="864" y="184"/>
                    </a:cubicBezTo>
                    <a:cubicBezTo>
                      <a:pt x="870" y="187"/>
                      <a:pt x="875" y="188"/>
                      <a:pt x="882" y="189"/>
                    </a:cubicBezTo>
                    <a:cubicBezTo>
                      <a:pt x="885" y="189"/>
                      <a:pt x="889" y="189"/>
                      <a:pt x="892" y="189"/>
                    </a:cubicBezTo>
                    <a:cubicBezTo>
                      <a:pt x="902" y="189"/>
                      <a:pt x="911" y="188"/>
                      <a:pt x="920" y="184"/>
                    </a:cubicBezTo>
                    <a:cubicBezTo>
                      <a:pt x="922" y="183"/>
                      <a:pt x="924" y="182"/>
                      <a:pt x="926" y="181"/>
                    </a:cubicBezTo>
                    <a:cubicBezTo>
                      <a:pt x="926" y="181"/>
                      <a:pt x="926" y="181"/>
                      <a:pt x="929" y="184"/>
                    </a:cubicBezTo>
                    <a:cubicBezTo>
                      <a:pt x="930" y="186"/>
                      <a:pt x="931" y="188"/>
                      <a:pt x="934" y="192"/>
                    </a:cubicBezTo>
                    <a:cubicBezTo>
                      <a:pt x="934" y="192"/>
                      <a:pt x="934" y="192"/>
                      <a:pt x="930" y="195"/>
                    </a:cubicBezTo>
                    <a:cubicBezTo>
                      <a:pt x="928" y="197"/>
                      <a:pt x="928" y="201"/>
                      <a:pt x="929" y="203"/>
                    </a:cubicBezTo>
                    <a:cubicBezTo>
                      <a:pt x="929" y="203"/>
                      <a:pt x="929" y="203"/>
                      <a:pt x="969" y="257"/>
                    </a:cubicBezTo>
                    <a:cubicBezTo>
                      <a:pt x="971" y="259"/>
                      <a:pt x="974" y="261"/>
                      <a:pt x="978" y="261"/>
                    </a:cubicBezTo>
                    <a:cubicBezTo>
                      <a:pt x="979" y="261"/>
                      <a:pt x="980" y="261"/>
                      <a:pt x="981" y="261"/>
                    </a:cubicBezTo>
                    <a:cubicBezTo>
                      <a:pt x="985" y="260"/>
                      <a:pt x="989" y="258"/>
                      <a:pt x="993" y="255"/>
                    </a:cubicBezTo>
                    <a:cubicBezTo>
                      <a:pt x="1002" y="248"/>
                      <a:pt x="1005" y="238"/>
                      <a:pt x="1001" y="233"/>
                    </a:cubicBezTo>
                    <a:cubicBezTo>
                      <a:pt x="1001" y="233"/>
                      <a:pt x="1001" y="233"/>
                      <a:pt x="967" y="187"/>
                    </a:cubicBezTo>
                    <a:cubicBezTo>
                      <a:pt x="965" y="184"/>
                      <a:pt x="963" y="182"/>
                      <a:pt x="960" y="179"/>
                    </a:cubicBezTo>
                    <a:cubicBezTo>
                      <a:pt x="960" y="177"/>
                      <a:pt x="959" y="177"/>
                      <a:pt x="958" y="176"/>
                    </a:cubicBezTo>
                    <a:cubicBezTo>
                      <a:pt x="956" y="176"/>
                      <a:pt x="955" y="177"/>
                      <a:pt x="954" y="178"/>
                    </a:cubicBezTo>
                    <a:cubicBezTo>
                      <a:pt x="954" y="178"/>
                      <a:pt x="954" y="178"/>
                      <a:pt x="949" y="181"/>
                    </a:cubicBezTo>
                    <a:cubicBezTo>
                      <a:pt x="949" y="181"/>
                      <a:pt x="949" y="181"/>
                      <a:pt x="941" y="170"/>
                    </a:cubicBezTo>
                    <a:cubicBezTo>
                      <a:pt x="948" y="162"/>
                      <a:pt x="954" y="152"/>
                      <a:pt x="958" y="142"/>
                    </a:cubicBezTo>
                    <a:cubicBezTo>
                      <a:pt x="959" y="138"/>
                      <a:pt x="960" y="134"/>
                      <a:pt x="960" y="129"/>
                    </a:cubicBezTo>
                    <a:cubicBezTo>
                      <a:pt x="963" y="110"/>
                      <a:pt x="959" y="92"/>
                      <a:pt x="947" y="77"/>
                    </a:cubicBezTo>
                    <a:cubicBezTo>
                      <a:pt x="924" y="45"/>
                      <a:pt x="880" y="40"/>
                      <a:pt x="849" y="62"/>
                    </a:cubicBezTo>
                    <a:cubicBezTo>
                      <a:pt x="835" y="74"/>
                      <a:pt x="825" y="91"/>
                      <a:pt x="822" y="109"/>
                    </a:cubicBezTo>
                    <a:close/>
                    <a:moveTo>
                      <a:pt x="853" y="149"/>
                    </a:moveTo>
                    <a:cubicBezTo>
                      <a:pt x="869" y="171"/>
                      <a:pt x="899" y="175"/>
                      <a:pt x="920" y="159"/>
                    </a:cubicBezTo>
                    <a:cubicBezTo>
                      <a:pt x="925" y="154"/>
                      <a:pt x="929" y="149"/>
                      <a:pt x="933" y="142"/>
                    </a:cubicBezTo>
                    <a:cubicBezTo>
                      <a:pt x="941" y="126"/>
                      <a:pt x="940" y="106"/>
                      <a:pt x="928" y="92"/>
                    </a:cubicBezTo>
                    <a:cubicBezTo>
                      <a:pt x="920" y="79"/>
                      <a:pt x="905" y="73"/>
                      <a:pt x="891" y="73"/>
                    </a:cubicBezTo>
                    <a:cubicBezTo>
                      <a:pt x="882" y="73"/>
                      <a:pt x="871" y="76"/>
                      <a:pt x="863" y="82"/>
                    </a:cubicBezTo>
                    <a:cubicBezTo>
                      <a:pt x="852" y="90"/>
                      <a:pt x="846" y="102"/>
                      <a:pt x="845" y="113"/>
                    </a:cubicBezTo>
                    <a:cubicBezTo>
                      <a:pt x="844" y="124"/>
                      <a:pt x="845" y="134"/>
                      <a:pt x="849" y="143"/>
                    </a:cubicBezTo>
                    <a:cubicBezTo>
                      <a:pt x="850" y="145"/>
                      <a:pt x="852" y="147"/>
                      <a:pt x="853" y="149"/>
                    </a:cubicBezTo>
                    <a:close/>
                    <a:moveTo>
                      <a:pt x="1449" y="315"/>
                    </a:moveTo>
                    <a:cubicBezTo>
                      <a:pt x="1484" y="315"/>
                      <a:pt x="1513" y="345"/>
                      <a:pt x="1513" y="381"/>
                    </a:cubicBezTo>
                    <a:cubicBezTo>
                      <a:pt x="1513" y="399"/>
                      <a:pt x="1506" y="415"/>
                      <a:pt x="1496" y="426"/>
                    </a:cubicBezTo>
                    <a:cubicBezTo>
                      <a:pt x="1486" y="437"/>
                      <a:pt x="1473" y="445"/>
                      <a:pt x="1457" y="447"/>
                    </a:cubicBezTo>
                    <a:cubicBezTo>
                      <a:pt x="1454" y="447"/>
                      <a:pt x="1452" y="448"/>
                      <a:pt x="1449" y="448"/>
                    </a:cubicBezTo>
                    <a:cubicBezTo>
                      <a:pt x="1413" y="448"/>
                      <a:pt x="1384" y="418"/>
                      <a:pt x="1384" y="381"/>
                    </a:cubicBezTo>
                    <a:cubicBezTo>
                      <a:pt x="1384" y="377"/>
                      <a:pt x="1384" y="373"/>
                      <a:pt x="1385" y="370"/>
                    </a:cubicBezTo>
                    <a:cubicBezTo>
                      <a:pt x="1388" y="355"/>
                      <a:pt x="1396" y="341"/>
                      <a:pt x="1407" y="331"/>
                    </a:cubicBezTo>
                    <a:cubicBezTo>
                      <a:pt x="1418" y="321"/>
                      <a:pt x="1432" y="315"/>
                      <a:pt x="1449" y="315"/>
                    </a:cubicBezTo>
                    <a:close/>
                    <a:moveTo>
                      <a:pt x="1473" y="398"/>
                    </a:moveTo>
                    <a:cubicBezTo>
                      <a:pt x="1476" y="393"/>
                      <a:pt x="1477" y="387"/>
                      <a:pt x="1477" y="381"/>
                    </a:cubicBezTo>
                    <a:cubicBezTo>
                      <a:pt x="1477" y="365"/>
                      <a:pt x="1464" y="351"/>
                      <a:pt x="1449" y="351"/>
                    </a:cubicBezTo>
                    <a:cubicBezTo>
                      <a:pt x="1443" y="351"/>
                      <a:pt x="1437" y="353"/>
                      <a:pt x="1432" y="356"/>
                    </a:cubicBezTo>
                    <a:cubicBezTo>
                      <a:pt x="1425" y="362"/>
                      <a:pt x="1419" y="370"/>
                      <a:pt x="1419" y="381"/>
                    </a:cubicBezTo>
                    <a:cubicBezTo>
                      <a:pt x="1419" y="398"/>
                      <a:pt x="1432" y="411"/>
                      <a:pt x="1449" y="411"/>
                    </a:cubicBezTo>
                    <a:cubicBezTo>
                      <a:pt x="1458" y="411"/>
                      <a:pt x="1467" y="406"/>
                      <a:pt x="1473" y="398"/>
                    </a:cubicBezTo>
                    <a:close/>
                    <a:moveTo>
                      <a:pt x="1551" y="505"/>
                    </a:moveTo>
                    <a:cubicBezTo>
                      <a:pt x="1540" y="513"/>
                      <a:pt x="1528" y="521"/>
                      <a:pt x="1516" y="527"/>
                    </a:cubicBezTo>
                    <a:cubicBezTo>
                      <a:pt x="1494" y="537"/>
                      <a:pt x="1471" y="541"/>
                      <a:pt x="1449" y="541"/>
                    </a:cubicBezTo>
                    <a:cubicBezTo>
                      <a:pt x="1408" y="541"/>
                      <a:pt x="1368" y="526"/>
                      <a:pt x="1337" y="495"/>
                    </a:cubicBezTo>
                    <a:cubicBezTo>
                      <a:pt x="1286" y="446"/>
                      <a:pt x="1277" y="370"/>
                      <a:pt x="1308" y="310"/>
                    </a:cubicBezTo>
                    <a:cubicBezTo>
                      <a:pt x="1313" y="299"/>
                      <a:pt x="1322" y="286"/>
                      <a:pt x="1332" y="276"/>
                    </a:cubicBezTo>
                    <a:cubicBezTo>
                      <a:pt x="1333" y="275"/>
                      <a:pt x="1335" y="273"/>
                      <a:pt x="1337" y="271"/>
                    </a:cubicBezTo>
                    <a:cubicBezTo>
                      <a:pt x="1368" y="240"/>
                      <a:pt x="1408" y="224"/>
                      <a:pt x="1449" y="224"/>
                    </a:cubicBezTo>
                    <a:cubicBezTo>
                      <a:pt x="1489" y="224"/>
                      <a:pt x="1530" y="240"/>
                      <a:pt x="1561" y="271"/>
                    </a:cubicBezTo>
                    <a:cubicBezTo>
                      <a:pt x="1623" y="333"/>
                      <a:pt x="1623" y="433"/>
                      <a:pt x="1561" y="495"/>
                    </a:cubicBezTo>
                    <a:cubicBezTo>
                      <a:pt x="1557" y="499"/>
                      <a:pt x="1554" y="502"/>
                      <a:pt x="1551" y="505"/>
                    </a:cubicBezTo>
                    <a:close/>
                    <a:moveTo>
                      <a:pt x="1449" y="491"/>
                    </a:moveTo>
                    <a:cubicBezTo>
                      <a:pt x="1461" y="491"/>
                      <a:pt x="1475" y="488"/>
                      <a:pt x="1486" y="484"/>
                    </a:cubicBezTo>
                    <a:cubicBezTo>
                      <a:pt x="1500" y="480"/>
                      <a:pt x="1512" y="472"/>
                      <a:pt x="1522" y="461"/>
                    </a:cubicBezTo>
                    <a:cubicBezTo>
                      <a:pt x="1543" y="442"/>
                      <a:pt x="1556" y="414"/>
                      <a:pt x="1556" y="383"/>
                    </a:cubicBezTo>
                    <a:cubicBezTo>
                      <a:pt x="1556" y="324"/>
                      <a:pt x="1508" y="276"/>
                      <a:pt x="1449" y="276"/>
                    </a:cubicBezTo>
                    <a:cubicBezTo>
                      <a:pt x="1419" y="276"/>
                      <a:pt x="1393" y="287"/>
                      <a:pt x="1373" y="306"/>
                    </a:cubicBezTo>
                    <a:cubicBezTo>
                      <a:pt x="1363" y="316"/>
                      <a:pt x="1355" y="329"/>
                      <a:pt x="1349" y="341"/>
                    </a:cubicBezTo>
                    <a:cubicBezTo>
                      <a:pt x="1344" y="355"/>
                      <a:pt x="1341" y="368"/>
                      <a:pt x="1341" y="383"/>
                    </a:cubicBezTo>
                    <a:cubicBezTo>
                      <a:pt x="1341" y="443"/>
                      <a:pt x="1389" y="491"/>
                      <a:pt x="1449" y="491"/>
                    </a:cubicBezTo>
                    <a:close/>
                    <a:moveTo>
                      <a:pt x="514" y="295"/>
                    </a:moveTo>
                    <a:cubicBezTo>
                      <a:pt x="555" y="357"/>
                      <a:pt x="550" y="441"/>
                      <a:pt x="494" y="495"/>
                    </a:cubicBezTo>
                    <a:cubicBezTo>
                      <a:pt x="462" y="526"/>
                      <a:pt x="421" y="541"/>
                      <a:pt x="380" y="541"/>
                    </a:cubicBezTo>
                    <a:cubicBezTo>
                      <a:pt x="348" y="541"/>
                      <a:pt x="316" y="532"/>
                      <a:pt x="288" y="512"/>
                    </a:cubicBezTo>
                    <a:cubicBezTo>
                      <a:pt x="281" y="508"/>
                      <a:pt x="274" y="502"/>
                      <a:pt x="267" y="495"/>
                    </a:cubicBezTo>
                    <a:cubicBezTo>
                      <a:pt x="263" y="491"/>
                      <a:pt x="260" y="487"/>
                      <a:pt x="256" y="483"/>
                    </a:cubicBezTo>
                    <a:cubicBezTo>
                      <a:pt x="205" y="421"/>
                      <a:pt x="208" y="329"/>
                      <a:pt x="267" y="271"/>
                    </a:cubicBezTo>
                    <a:cubicBezTo>
                      <a:pt x="298" y="240"/>
                      <a:pt x="339" y="224"/>
                      <a:pt x="380" y="224"/>
                    </a:cubicBezTo>
                    <a:cubicBezTo>
                      <a:pt x="417" y="224"/>
                      <a:pt x="455" y="237"/>
                      <a:pt x="485" y="263"/>
                    </a:cubicBezTo>
                    <a:cubicBezTo>
                      <a:pt x="488" y="265"/>
                      <a:pt x="491" y="268"/>
                      <a:pt x="494" y="271"/>
                    </a:cubicBezTo>
                    <a:cubicBezTo>
                      <a:pt x="502" y="278"/>
                      <a:pt x="508" y="286"/>
                      <a:pt x="514" y="295"/>
                    </a:cubicBezTo>
                    <a:close/>
                    <a:moveTo>
                      <a:pt x="322" y="466"/>
                    </a:moveTo>
                    <a:cubicBezTo>
                      <a:pt x="322" y="466"/>
                      <a:pt x="322" y="466"/>
                      <a:pt x="322" y="402"/>
                    </a:cubicBezTo>
                    <a:cubicBezTo>
                      <a:pt x="322" y="402"/>
                      <a:pt x="322" y="401"/>
                      <a:pt x="322" y="400"/>
                    </a:cubicBezTo>
                    <a:cubicBezTo>
                      <a:pt x="321" y="398"/>
                      <a:pt x="319" y="397"/>
                      <a:pt x="317" y="397"/>
                    </a:cubicBezTo>
                    <a:cubicBezTo>
                      <a:pt x="317" y="397"/>
                      <a:pt x="317" y="397"/>
                      <a:pt x="289" y="397"/>
                    </a:cubicBezTo>
                    <a:cubicBezTo>
                      <a:pt x="286" y="397"/>
                      <a:pt x="283" y="400"/>
                      <a:pt x="283" y="402"/>
                    </a:cubicBezTo>
                    <a:cubicBezTo>
                      <a:pt x="283" y="402"/>
                      <a:pt x="283" y="402"/>
                      <a:pt x="283" y="445"/>
                    </a:cubicBezTo>
                    <a:cubicBezTo>
                      <a:pt x="283" y="451"/>
                      <a:pt x="283" y="458"/>
                      <a:pt x="283" y="466"/>
                    </a:cubicBezTo>
                    <a:cubicBezTo>
                      <a:pt x="283" y="469"/>
                      <a:pt x="286" y="471"/>
                      <a:pt x="289" y="471"/>
                    </a:cubicBezTo>
                    <a:cubicBezTo>
                      <a:pt x="289" y="471"/>
                      <a:pt x="289" y="471"/>
                      <a:pt x="317" y="471"/>
                    </a:cubicBezTo>
                    <a:cubicBezTo>
                      <a:pt x="318" y="471"/>
                      <a:pt x="318" y="471"/>
                      <a:pt x="318" y="471"/>
                    </a:cubicBezTo>
                    <a:cubicBezTo>
                      <a:pt x="321" y="470"/>
                      <a:pt x="322" y="469"/>
                      <a:pt x="322" y="466"/>
                    </a:cubicBezTo>
                    <a:cubicBezTo>
                      <a:pt x="322" y="466"/>
                      <a:pt x="322" y="466"/>
                      <a:pt x="322" y="466"/>
                    </a:cubicBezTo>
                    <a:close/>
                    <a:moveTo>
                      <a:pt x="369" y="412"/>
                    </a:moveTo>
                    <a:cubicBezTo>
                      <a:pt x="369" y="374"/>
                      <a:pt x="369" y="374"/>
                      <a:pt x="369" y="374"/>
                    </a:cubicBezTo>
                    <a:cubicBezTo>
                      <a:pt x="369" y="371"/>
                      <a:pt x="367" y="369"/>
                      <a:pt x="364" y="369"/>
                    </a:cubicBezTo>
                    <a:cubicBezTo>
                      <a:pt x="359" y="369"/>
                      <a:pt x="355" y="369"/>
                      <a:pt x="351" y="369"/>
                    </a:cubicBezTo>
                    <a:cubicBezTo>
                      <a:pt x="335" y="369"/>
                      <a:pt x="335" y="369"/>
                      <a:pt x="335" y="369"/>
                    </a:cubicBezTo>
                    <a:cubicBezTo>
                      <a:pt x="332" y="369"/>
                      <a:pt x="330" y="371"/>
                      <a:pt x="330" y="374"/>
                    </a:cubicBezTo>
                    <a:cubicBezTo>
                      <a:pt x="330" y="380"/>
                      <a:pt x="330" y="385"/>
                      <a:pt x="330" y="391"/>
                    </a:cubicBezTo>
                    <a:cubicBezTo>
                      <a:pt x="330" y="426"/>
                      <a:pt x="330" y="446"/>
                      <a:pt x="330" y="455"/>
                    </a:cubicBezTo>
                    <a:cubicBezTo>
                      <a:pt x="330" y="466"/>
                      <a:pt x="330" y="466"/>
                      <a:pt x="330" y="466"/>
                    </a:cubicBezTo>
                    <a:cubicBezTo>
                      <a:pt x="330" y="469"/>
                      <a:pt x="332" y="471"/>
                      <a:pt x="335" y="471"/>
                    </a:cubicBezTo>
                    <a:cubicBezTo>
                      <a:pt x="364" y="471"/>
                      <a:pt x="364" y="471"/>
                      <a:pt x="364" y="471"/>
                    </a:cubicBezTo>
                    <a:cubicBezTo>
                      <a:pt x="367" y="471"/>
                      <a:pt x="369" y="469"/>
                      <a:pt x="369" y="466"/>
                    </a:cubicBezTo>
                    <a:cubicBezTo>
                      <a:pt x="369" y="443"/>
                      <a:pt x="369" y="425"/>
                      <a:pt x="369" y="412"/>
                    </a:cubicBezTo>
                    <a:close/>
                    <a:moveTo>
                      <a:pt x="416" y="367"/>
                    </a:moveTo>
                    <a:cubicBezTo>
                      <a:pt x="416" y="342"/>
                      <a:pt x="416" y="342"/>
                      <a:pt x="416" y="342"/>
                    </a:cubicBezTo>
                    <a:cubicBezTo>
                      <a:pt x="416" y="339"/>
                      <a:pt x="413" y="336"/>
                      <a:pt x="410" y="336"/>
                    </a:cubicBezTo>
                    <a:cubicBezTo>
                      <a:pt x="396" y="336"/>
                      <a:pt x="389" y="336"/>
                      <a:pt x="385" y="336"/>
                    </a:cubicBezTo>
                    <a:cubicBezTo>
                      <a:pt x="382" y="336"/>
                      <a:pt x="382" y="336"/>
                      <a:pt x="382" y="336"/>
                    </a:cubicBezTo>
                    <a:cubicBezTo>
                      <a:pt x="379" y="336"/>
                      <a:pt x="377" y="339"/>
                      <a:pt x="377" y="342"/>
                    </a:cubicBezTo>
                    <a:cubicBezTo>
                      <a:pt x="377" y="342"/>
                      <a:pt x="377" y="343"/>
                      <a:pt x="377" y="344"/>
                    </a:cubicBezTo>
                    <a:cubicBezTo>
                      <a:pt x="377" y="368"/>
                      <a:pt x="377" y="388"/>
                      <a:pt x="377" y="403"/>
                    </a:cubicBezTo>
                    <a:cubicBezTo>
                      <a:pt x="377" y="466"/>
                      <a:pt x="377" y="466"/>
                      <a:pt x="377" y="466"/>
                    </a:cubicBezTo>
                    <a:cubicBezTo>
                      <a:pt x="377" y="469"/>
                      <a:pt x="379" y="471"/>
                      <a:pt x="382" y="471"/>
                    </a:cubicBezTo>
                    <a:cubicBezTo>
                      <a:pt x="410" y="471"/>
                      <a:pt x="410" y="471"/>
                      <a:pt x="410" y="471"/>
                    </a:cubicBezTo>
                    <a:cubicBezTo>
                      <a:pt x="413" y="471"/>
                      <a:pt x="416" y="469"/>
                      <a:pt x="416" y="466"/>
                    </a:cubicBezTo>
                    <a:cubicBezTo>
                      <a:pt x="416" y="416"/>
                      <a:pt x="416" y="386"/>
                      <a:pt x="416" y="367"/>
                    </a:cubicBezTo>
                    <a:close/>
                    <a:moveTo>
                      <a:pt x="462" y="330"/>
                    </a:moveTo>
                    <a:cubicBezTo>
                      <a:pt x="462" y="301"/>
                      <a:pt x="462" y="301"/>
                      <a:pt x="462" y="301"/>
                    </a:cubicBezTo>
                    <a:cubicBezTo>
                      <a:pt x="462" y="298"/>
                      <a:pt x="460" y="295"/>
                      <a:pt x="457" y="295"/>
                    </a:cubicBezTo>
                    <a:cubicBezTo>
                      <a:pt x="447" y="295"/>
                      <a:pt x="441" y="295"/>
                      <a:pt x="437" y="295"/>
                    </a:cubicBezTo>
                    <a:cubicBezTo>
                      <a:pt x="429" y="295"/>
                      <a:pt x="429" y="295"/>
                      <a:pt x="429" y="295"/>
                    </a:cubicBezTo>
                    <a:cubicBezTo>
                      <a:pt x="426" y="295"/>
                      <a:pt x="423" y="298"/>
                      <a:pt x="423" y="301"/>
                    </a:cubicBezTo>
                    <a:cubicBezTo>
                      <a:pt x="423" y="302"/>
                      <a:pt x="423" y="304"/>
                      <a:pt x="423" y="305"/>
                    </a:cubicBezTo>
                    <a:cubicBezTo>
                      <a:pt x="423" y="326"/>
                      <a:pt x="423" y="344"/>
                      <a:pt x="423" y="361"/>
                    </a:cubicBezTo>
                    <a:cubicBezTo>
                      <a:pt x="423" y="466"/>
                      <a:pt x="423" y="466"/>
                      <a:pt x="423" y="466"/>
                    </a:cubicBezTo>
                    <a:cubicBezTo>
                      <a:pt x="423" y="469"/>
                      <a:pt x="426" y="471"/>
                      <a:pt x="429" y="471"/>
                    </a:cubicBezTo>
                    <a:cubicBezTo>
                      <a:pt x="457" y="471"/>
                      <a:pt x="457" y="471"/>
                      <a:pt x="457" y="471"/>
                    </a:cubicBezTo>
                    <a:cubicBezTo>
                      <a:pt x="460" y="471"/>
                      <a:pt x="462" y="469"/>
                      <a:pt x="462" y="466"/>
                    </a:cubicBezTo>
                    <a:cubicBezTo>
                      <a:pt x="462" y="393"/>
                      <a:pt x="462" y="353"/>
                      <a:pt x="462" y="330"/>
                    </a:cubicBezTo>
                    <a:close/>
                    <a:moveTo>
                      <a:pt x="1668" y="757"/>
                    </a:moveTo>
                    <a:cubicBezTo>
                      <a:pt x="1757" y="757"/>
                      <a:pt x="1828" y="827"/>
                      <a:pt x="1828" y="915"/>
                    </a:cubicBezTo>
                    <a:cubicBezTo>
                      <a:pt x="1828" y="1003"/>
                      <a:pt x="1757" y="1074"/>
                      <a:pt x="1668" y="1074"/>
                    </a:cubicBezTo>
                    <a:cubicBezTo>
                      <a:pt x="1581" y="1074"/>
                      <a:pt x="1509" y="1003"/>
                      <a:pt x="1509" y="915"/>
                    </a:cubicBezTo>
                    <a:cubicBezTo>
                      <a:pt x="1509" y="849"/>
                      <a:pt x="1551" y="791"/>
                      <a:pt x="1610" y="768"/>
                    </a:cubicBezTo>
                    <a:cubicBezTo>
                      <a:pt x="1624" y="763"/>
                      <a:pt x="1637" y="759"/>
                      <a:pt x="1652" y="758"/>
                    </a:cubicBezTo>
                    <a:cubicBezTo>
                      <a:pt x="1658" y="757"/>
                      <a:pt x="1664" y="757"/>
                      <a:pt x="1668" y="757"/>
                    </a:cubicBezTo>
                    <a:close/>
                    <a:moveTo>
                      <a:pt x="1700" y="1016"/>
                    </a:moveTo>
                    <a:cubicBezTo>
                      <a:pt x="1700" y="1008"/>
                      <a:pt x="1700" y="1008"/>
                      <a:pt x="1700" y="1008"/>
                    </a:cubicBezTo>
                    <a:cubicBezTo>
                      <a:pt x="1700" y="1007"/>
                      <a:pt x="1700" y="1006"/>
                      <a:pt x="1700" y="1006"/>
                    </a:cubicBezTo>
                    <a:cubicBezTo>
                      <a:pt x="1700" y="1006"/>
                      <a:pt x="1700" y="1006"/>
                      <a:pt x="1638" y="1006"/>
                    </a:cubicBezTo>
                    <a:cubicBezTo>
                      <a:pt x="1638" y="1006"/>
                      <a:pt x="1637" y="1007"/>
                      <a:pt x="1637" y="1008"/>
                    </a:cubicBezTo>
                    <a:cubicBezTo>
                      <a:pt x="1637" y="1016"/>
                      <a:pt x="1637" y="1016"/>
                      <a:pt x="1637" y="1016"/>
                    </a:cubicBezTo>
                    <a:cubicBezTo>
                      <a:pt x="1637" y="1018"/>
                      <a:pt x="1639" y="1020"/>
                      <a:pt x="1641" y="1021"/>
                    </a:cubicBezTo>
                    <a:cubicBezTo>
                      <a:pt x="1654" y="1027"/>
                      <a:pt x="1665" y="1027"/>
                      <a:pt x="1668" y="1027"/>
                    </a:cubicBezTo>
                    <a:cubicBezTo>
                      <a:pt x="1669" y="1027"/>
                      <a:pt x="1670" y="1027"/>
                      <a:pt x="1671" y="1027"/>
                    </a:cubicBezTo>
                    <a:cubicBezTo>
                      <a:pt x="1677" y="1027"/>
                      <a:pt x="1687" y="1026"/>
                      <a:pt x="1697" y="1021"/>
                    </a:cubicBezTo>
                    <a:cubicBezTo>
                      <a:pt x="1699" y="1020"/>
                      <a:pt x="1700" y="1018"/>
                      <a:pt x="1700" y="1016"/>
                    </a:cubicBezTo>
                    <a:close/>
                    <a:moveTo>
                      <a:pt x="1703" y="999"/>
                    </a:moveTo>
                    <a:cubicBezTo>
                      <a:pt x="1707" y="999"/>
                      <a:pt x="1709" y="996"/>
                      <a:pt x="1709" y="993"/>
                    </a:cubicBezTo>
                    <a:cubicBezTo>
                      <a:pt x="1709" y="990"/>
                      <a:pt x="1707" y="987"/>
                      <a:pt x="1703" y="987"/>
                    </a:cubicBezTo>
                    <a:cubicBezTo>
                      <a:pt x="1633" y="987"/>
                      <a:pt x="1633" y="987"/>
                      <a:pt x="1633" y="987"/>
                    </a:cubicBezTo>
                    <a:cubicBezTo>
                      <a:pt x="1630" y="987"/>
                      <a:pt x="1629" y="990"/>
                      <a:pt x="1629" y="993"/>
                    </a:cubicBezTo>
                    <a:cubicBezTo>
                      <a:pt x="1629" y="996"/>
                      <a:pt x="1630" y="999"/>
                      <a:pt x="1633" y="999"/>
                    </a:cubicBezTo>
                    <a:cubicBezTo>
                      <a:pt x="1703" y="999"/>
                      <a:pt x="1703" y="999"/>
                      <a:pt x="1703" y="999"/>
                    </a:cubicBezTo>
                    <a:close/>
                    <a:moveTo>
                      <a:pt x="1703" y="979"/>
                    </a:moveTo>
                    <a:cubicBezTo>
                      <a:pt x="1707" y="979"/>
                      <a:pt x="1709" y="976"/>
                      <a:pt x="1709" y="973"/>
                    </a:cubicBezTo>
                    <a:cubicBezTo>
                      <a:pt x="1709" y="971"/>
                      <a:pt x="1707" y="968"/>
                      <a:pt x="1703" y="968"/>
                    </a:cubicBezTo>
                    <a:cubicBezTo>
                      <a:pt x="1633" y="968"/>
                      <a:pt x="1633" y="968"/>
                      <a:pt x="1633" y="968"/>
                    </a:cubicBezTo>
                    <a:cubicBezTo>
                      <a:pt x="1630" y="968"/>
                      <a:pt x="1629" y="971"/>
                      <a:pt x="1629" y="973"/>
                    </a:cubicBezTo>
                    <a:cubicBezTo>
                      <a:pt x="1629" y="976"/>
                      <a:pt x="1630" y="979"/>
                      <a:pt x="1633" y="979"/>
                    </a:cubicBezTo>
                    <a:cubicBezTo>
                      <a:pt x="1703" y="979"/>
                      <a:pt x="1703" y="979"/>
                      <a:pt x="1703" y="979"/>
                    </a:cubicBezTo>
                    <a:close/>
                    <a:moveTo>
                      <a:pt x="1720" y="915"/>
                    </a:moveTo>
                    <a:cubicBezTo>
                      <a:pt x="1731" y="903"/>
                      <a:pt x="1736" y="887"/>
                      <a:pt x="1736" y="871"/>
                    </a:cubicBezTo>
                    <a:cubicBezTo>
                      <a:pt x="1736" y="835"/>
                      <a:pt x="1706" y="804"/>
                      <a:pt x="1668" y="804"/>
                    </a:cubicBezTo>
                    <a:cubicBezTo>
                      <a:pt x="1665" y="804"/>
                      <a:pt x="1663" y="805"/>
                      <a:pt x="1660" y="805"/>
                    </a:cubicBezTo>
                    <a:cubicBezTo>
                      <a:pt x="1644" y="807"/>
                      <a:pt x="1629" y="815"/>
                      <a:pt x="1620" y="827"/>
                    </a:cubicBezTo>
                    <a:cubicBezTo>
                      <a:pt x="1608" y="838"/>
                      <a:pt x="1601" y="854"/>
                      <a:pt x="1601" y="871"/>
                    </a:cubicBezTo>
                    <a:cubicBezTo>
                      <a:pt x="1601" y="887"/>
                      <a:pt x="1607" y="903"/>
                      <a:pt x="1618" y="915"/>
                    </a:cubicBezTo>
                    <a:cubicBezTo>
                      <a:pt x="1618" y="915"/>
                      <a:pt x="1618" y="915"/>
                      <a:pt x="1619" y="915"/>
                    </a:cubicBezTo>
                    <a:cubicBezTo>
                      <a:pt x="1619" y="916"/>
                      <a:pt x="1634" y="930"/>
                      <a:pt x="1634" y="946"/>
                    </a:cubicBezTo>
                    <a:cubicBezTo>
                      <a:pt x="1634" y="946"/>
                      <a:pt x="1634" y="946"/>
                      <a:pt x="1634" y="960"/>
                    </a:cubicBezTo>
                    <a:cubicBezTo>
                      <a:pt x="1634" y="960"/>
                      <a:pt x="1634" y="960"/>
                      <a:pt x="1664" y="960"/>
                    </a:cubicBezTo>
                    <a:cubicBezTo>
                      <a:pt x="1664" y="956"/>
                      <a:pt x="1664" y="948"/>
                      <a:pt x="1664" y="933"/>
                    </a:cubicBezTo>
                    <a:cubicBezTo>
                      <a:pt x="1664" y="931"/>
                      <a:pt x="1664" y="930"/>
                      <a:pt x="1665" y="929"/>
                    </a:cubicBezTo>
                    <a:cubicBezTo>
                      <a:pt x="1665" y="929"/>
                      <a:pt x="1665" y="929"/>
                      <a:pt x="1673" y="918"/>
                    </a:cubicBezTo>
                    <a:cubicBezTo>
                      <a:pt x="1673" y="918"/>
                      <a:pt x="1673" y="918"/>
                      <a:pt x="1661" y="918"/>
                    </a:cubicBezTo>
                    <a:cubicBezTo>
                      <a:pt x="1659" y="918"/>
                      <a:pt x="1657" y="917"/>
                      <a:pt x="1656" y="915"/>
                    </a:cubicBezTo>
                    <a:cubicBezTo>
                      <a:pt x="1655" y="914"/>
                      <a:pt x="1655" y="913"/>
                      <a:pt x="1656" y="911"/>
                    </a:cubicBezTo>
                    <a:cubicBezTo>
                      <a:pt x="1656" y="911"/>
                      <a:pt x="1656" y="910"/>
                      <a:pt x="1657" y="910"/>
                    </a:cubicBezTo>
                    <a:cubicBezTo>
                      <a:pt x="1657" y="910"/>
                      <a:pt x="1657" y="910"/>
                      <a:pt x="1667" y="897"/>
                    </a:cubicBezTo>
                    <a:cubicBezTo>
                      <a:pt x="1667" y="897"/>
                      <a:pt x="1667" y="896"/>
                      <a:pt x="1668" y="896"/>
                    </a:cubicBezTo>
                    <a:cubicBezTo>
                      <a:pt x="1668" y="896"/>
                      <a:pt x="1668" y="896"/>
                      <a:pt x="1667" y="896"/>
                    </a:cubicBezTo>
                    <a:cubicBezTo>
                      <a:pt x="1666" y="896"/>
                      <a:pt x="1664" y="896"/>
                      <a:pt x="1659" y="896"/>
                    </a:cubicBezTo>
                    <a:cubicBezTo>
                      <a:pt x="1657" y="896"/>
                      <a:pt x="1655" y="895"/>
                      <a:pt x="1654" y="893"/>
                    </a:cubicBezTo>
                    <a:cubicBezTo>
                      <a:pt x="1653" y="891"/>
                      <a:pt x="1653" y="889"/>
                      <a:pt x="1654" y="887"/>
                    </a:cubicBezTo>
                    <a:cubicBezTo>
                      <a:pt x="1654" y="887"/>
                      <a:pt x="1654" y="887"/>
                      <a:pt x="1666" y="873"/>
                    </a:cubicBezTo>
                    <a:cubicBezTo>
                      <a:pt x="1668" y="869"/>
                      <a:pt x="1671" y="866"/>
                      <a:pt x="1675" y="861"/>
                    </a:cubicBezTo>
                    <a:cubicBezTo>
                      <a:pt x="1677" y="859"/>
                      <a:pt x="1681" y="858"/>
                      <a:pt x="1683" y="860"/>
                    </a:cubicBezTo>
                    <a:cubicBezTo>
                      <a:pt x="1686" y="862"/>
                      <a:pt x="1686" y="866"/>
                      <a:pt x="1684" y="868"/>
                    </a:cubicBezTo>
                    <a:cubicBezTo>
                      <a:pt x="1684" y="868"/>
                      <a:pt x="1684" y="868"/>
                      <a:pt x="1670" y="886"/>
                    </a:cubicBezTo>
                    <a:cubicBezTo>
                      <a:pt x="1670" y="886"/>
                      <a:pt x="1670" y="886"/>
                      <a:pt x="1680" y="886"/>
                    </a:cubicBezTo>
                    <a:cubicBezTo>
                      <a:pt x="1683" y="886"/>
                      <a:pt x="1685" y="886"/>
                      <a:pt x="1686" y="888"/>
                    </a:cubicBezTo>
                    <a:cubicBezTo>
                      <a:pt x="1687" y="890"/>
                      <a:pt x="1686" y="892"/>
                      <a:pt x="1685" y="894"/>
                    </a:cubicBezTo>
                    <a:cubicBezTo>
                      <a:pt x="1685" y="894"/>
                      <a:pt x="1685" y="894"/>
                      <a:pt x="1673" y="908"/>
                    </a:cubicBezTo>
                    <a:cubicBezTo>
                      <a:pt x="1673" y="908"/>
                      <a:pt x="1673" y="908"/>
                      <a:pt x="1686" y="908"/>
                    </a:cubicBezTo>
                    <a:cubicBezTo>
                      <a:pt x="1688" y="908"/>
                      <a:pt x="1690" y="909"/>
                      <a:pt x="1691" y="911"/>
                    </a:cubicBezTo>
                    <a:cubicBezTo>
                      <a:pt x="1692" y="913"/>
                      <a:pt x="1692" y="915"/>
                      <a:pt x="1690" y="916"/>
                    </a:cubicBezTo>
                    <a:cubicBezTo>
                      <a:pt x="1690" y="916"/>
                      <a:pt x="1690" y="916"/>
                      <a:pt x="1674" y="935"/>
                    </a:cubicBezTo>
                    <a:cubicBezTo>
                      <a:pt x="1674" y="935"/>
                      <a:pt x="1674" y="935"/>
                      <a:pt x="1674" y="960"/>
                    </a:cubicBezTo>
                    <a:cubicBezTo>
                      <a:pt x="1674" y="960"/>
                      <a:pt x="1674" y="960"/>
                      <a:pt x="1703" y="960"/>
                    </a:cubicBezTo>
                    <a:cubicBezTo>
                      <a:pt x="1703" y="958"/>
                      <a:pt x="1703" y="953"/>
                      <a:pt x="1703" y="946"/>
                    </a:cubicBezTo>
                    <a:cubicBezTo>
                      <a:pt x="1703" y="930"/>
                      <a:pt x="1719" y="916"/>
                      <a:pt x="1719" y="915"/>
                    </a:cubicBezTo>
                    <a:cubicBezTo>
                      <a:pt x="1719" y="915"/>
                      <a:pt x="1719" y="915"/>
                      <a:pt x="1720" y="915"/>
                    </a:cubicBezTo>
                    <a:close/>
                    <a:moveTo>
                      <a:pt x="185" y="759"/>
                    </a:moveTo>
                    <a:cubicBezTo>
                      <a:pt x="261" y="771"/>
                      <a:pt x="319" y="836"/>
                      <a:pt x="319" y="915"/>
                    </a:cubicBezTo>
                    <a:cubicBezTo>
                      <a:pt x="319" y="1003"/>
                      <a:pt x="247" y="1074"/>
                      <a:pt x="160" y="1074"/>
                    </a:cubicBezTo>
                    <a:cubicBezTo>
                      <a:pt x="71" y="1074"/>
                      <a:pt x="0" y="1003"/>
                      <a:pt x="0" y="915"/>
                    </a:cubicBezTo>
                    <a:cubicBezTo>
                      <a:pt x="0" y="833"/>
                      <a:pt x="62" y="767"/>
                      <a:pt x="142" y="758"/>
                    </a:cubicBezTo>
                    <a:cubicBezTo>
                      <a:pt x="148" y="757"/>
                      <a:pt x="154" y="757"/>
                      <a:pt x="160" y="757"/>
                    </a:cubicBezTo>
                    <a:cubicBezTo>
                      <a:pt x="168" y="757"/>
                      <a:pt x="177" y="758"/>
                      <a:pt x="185" y="759"/>
                    </a:cubicBezTo>
                    <a:close/>
                    <a:moveTo>
                      <a:pt x="198" y="977"/>
                    </a:moveTo>
                    <a:cubicBezTo>
                      <a:pt x="204" y="970"/>
                      <a:pt x="207" y="961"/>
                      <a:pt x="207" y="951"/>
                    </a:cubicBezTo>
                    <a:cubicBezTo>
                      <a:pt x="207" y="944"/>
                      <a:pt x="206" y="938"/>
                      <a:pt x="203" y="932"/>
                    </a:cubicBezTo>
                    <a:cubicBezTo>
                      <a:pt x="201" y="926"/>
                      <a:pt x="198" y="920"/>
                      <a:pt x="193" y="916"/>
                    </a:cubicBezTo>
                    <a:cubicBezTo>
                      <a:pt x="188" y="912"/>
                      <a:pt x="180" y="908"/>
                      <a:pt x="170" y="902"/>
                    </a:cubicBezTo>
                    <a:cubicBezTo>
                      <a:pt x="169" y="902"/>
                      <a:pt x="169" y="902"/>
                      <a:pt x="169" y="902"/>
                    </a:cubicBezTo>
                    <a:cubicBezTo>
                      <a:pt x="150" y="892"/>
                      <a:pt x="140" y="883"/>
                      <a:pt x="140" y="874"/>
                    </a:cubicBezTo>
                    <a:cubicBezTo>
                      <a:pt x="140" y="869"/>
                      <a:pt x="141" y="864"/>
                      <a:pt x="145" y="861"/>
                    </a:cubicBezTo>
                    <a:cubicBezTo>
                      <a:pt x="149" y="857"/>
                      <a:pt x="154" y="856"/>
                      <a:pt x="160" y="856"/>
                    </a:cubicBezTo>
                    <a:cubicBezTo>
                      <a:pt x="163" y="856"/>
                      <a:pt x="167" y="856"/>
                      <a:pt x="171" y="856"/>
                    </a:cubicBezTo>
                    <a:cubicBezTo>
                      <a:pt x="178" y="858"/>
                      <a:pt x="185" y="861"/>
                      <a:pt x="192" y="866"/>
                    </a:cubicBezTo>
                    <a:cubicBezTo>
                      <a:pt x="192" y="866"/>
                      <a:pt x="192" y="866"/>
                      <a:pt x="199" y="842"/>
                    </a:cubicBezTo>
                    <a:cubicBezTo>
                      <a:pt x="194" y="837"/>
                      <a:pt x="185" y="834"/>
                      <a:pt x="173" y="832"/>
                    </a:cubicBezTo>
                    <a:cubicBezTo>
                      <a:pt x="172" y="832"/>
                      <a:pt x="171" y="832"/>
                      <a:pt x="170" y="832"/>
                    </a:cubicBezTo>
                    <a:cubicBezTo>
                      <a:pt x="170" y="832"/>
                      <a:pt x="170" y="832"/>
                      <a:pt x="170" y="814"/>
                    </a:cubicBezTo>
                    <a:cubicBezTo>
                      <a:pt x="170" y="814"/>
                      <a:pt x="170" y="814"/>
                      <a:pt x="146" y="814"/>
                    </a:cubicBezTo>
                    <a:cubicBezTo>
                      <a:pt x="146" y="814"/>
                      <a:pt x="146" y="814"/>
                      <a:pt x="146" y="833"/>
                    </a:cubicBezTo>
                    <a:cubicBezTo>
                      <a:pt x="139" y="835"/>
                      <a:pt x="134" y="837"/>
                      <a:pt x="129" y="840"/>
                    </a:cubicBezTo>
                    <a:cubicBezTo>
                      <a:pt x="127" y="842"/>
                      <a:pt x="124" y="845"/>
                      <a:pt x="121" y="848"/>
                    </a:cubicBezTo>
                    <a:cubicBezTo>
                      <a:pt x="115" y="856"/>
                      <a:pt x="112" y="864"/>
                      <a:pt x="112" y="874"/>
                    </a:cubicBezTo>
                    <a:cubicBezTo>
                      <a:pt x="112" y="881"/>
                      <a:pt x="113" y="886"/>
                      <a:pt x="115" y="892"/>
                    </a:cubicBezTo>
                    <a:cubicBezTo>
                      <a:pt x="117" y="897"/>
                      <a:pt x="121" y="902"/>
                      <a:pt x="125" y="906"/>
                    </a:cubicBezTo>
                    <a:cubicBezTo>
                      <a:pt x="126" y="907"/>
                      <a:pt x="126" y="907"/>
                      <a:pt x="127" y="907"/>
                    </a:cubicBezTo>
                    <a:cubicBezTo>
                      <a:pt x="127" y="909"/>
                      <a:pt x="129" y="910"/>
                      <a:pt x="131" y="911"/>
                    </a:cubicBezTo>
                    <a:cubicBezTo>
                      <a:pt x="135" y="914"/>
                      <a:pt x="141" y="916"/>
                      <a:pt x="149" y="920"/>
                    </a:cubicBezTo>
                    <a:cubicBezTo>
                      <a:pt x="161" y="926"/>
                      <a:pt x="168" y="932"/>
                      <a:pt x="173" y="937"/>
                    </a:cubicBezTo>
                    <a:cubicBezTo>
                      <a:pt x="177" y="942"/>
                      <a:pt x="179" y="947"/>
                      <a:pt x="179" y="953"/>
                    </a:cubicBezTo>
                    <a:cubicBezTo>
                      <a:pt x="179" y="964"/>
                      <a:pt x="171" y="970"/>
                      <a:pt x="155" y="970"/>
                    </a:cubicBezTo>
                    <a:cubicBezTo>
                      <a:pt x="144" y="970"/>
                      <a:pt x="132" y="966"/>
                      <a:pt x="122" y="958"/>
                    </a:cubicBezTo>
                    <a:cubicBezTo>
                      <a:pt x="122" y="958"/>
                      <a:pt x="122" y="958"/>
                      <a:pt x="111" y="983"/>
                    </a:cubicBezTo>
                    <a:cubicBezTo>
                      <a:pt x="122" y="990"/>
                      <a:pt x="133" y="994"/>
                      <a:pt x="146" y="995"/>
                    </a:cubicBezTo>
                    <a:cubicBezTo>
                      <a:pt x="146" y="995"/>
                      <a:pt x="146" y="995"/>
                      <a:pt x="146" y="1017"/>
                    </a:cubicBezTo>
                    <a:cubicBezTo>
                      <a:pt x="146" y="1017"/>
                      <a:pt x="146" y="1017"/>
                      <a:pt x="170" y="1017"/>
                    </a:cubicBezTo>
                    <a:cubicBezTo>
                      <a:pt x="170" y="1017"/>
                      <a:pt x="170" y="1017"/>
                      <a:pt x="170" y="992"/>
                    </a:cubicBezTo>
                    <a:cubicBezTo>
                      <a:pt x="182" y="989"/>
                      <a:pt x="191" y="984"/>
                      <a:pt x="198" y="9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0000"/>
                  </a:solidFill>
                  <a:effectLst/>
                  <a:uLnTx/>
                  <a:uFillTx/>
                  <a:latin typeface="COOP"/>
                  <a:ea typeface="+mn-ea"/>
                  <a:cs typeface="+mn-cs"/>
                </a:endParaRPr>
              </a:p>
            </p:txBody>
          </p:sp>
        </p:grpSp>
      </p:grpSp>
    </p:spTree>
    <p:extLst>
      <p:ext uri="{BB962C8B-B14F-4D97-AF65-F5344CB8AC3E}">
        <p14:creationId xmlns:p14="http://schemas.microsoft.com/office/powerpoint/2010/main" val="8186995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2" descr="A picture containing text, person&#10;&#10;Description automatically generated">
            <a:extLst>
              <a:ext uri="{FF2B5EF4-FFF2-40B4-BE49-F238E27FC236}">
                <a16:creationId xmlns:a16="http://schemas.microsoft.com/office/drawing/2014/main" id="{992E6507-21A4-26C3-AC83-C1EA4342918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12192792" cy="6858000"/>
          </a:xfrm>
          <a:prstGeom prst="rect">
            <a:avLst/>
          </a:prstGeom>
        </p:spPr>
      </p:pic>
      <p:sp>
        <p:nvSpPr>
          <p:cNvPr id="3" name="GradientOverlay">
            <a:extLst>
              <a:ext uri="{FF2B5EF4-FFF2-40B4-BE49-F238E27FC236}">
                <a16:creationId xmlns:a16="http://schemas.microsoft.com/office/drawing/2014/main" id="{07B69342-69D4-0751-0C57-032535EAD72A}"/>
              </a:ext>
            </a:extLst>
          </p:cNvPr>
          <p:cNvSpPr/>
          <p:nvPr>
            <p:custDataLst>
              <p:tags r:id="rId1"/>
            </p:custDataLst>
          </p:nvPr>
        </p:nvSpPr>
        <p:spPr>
          <a:xfrm>
            <a:off x="-2" y="0"/>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Nyt serviceprogram</a:t>
            </a:r>
            <a:r>
              <a:rPr lang="da-DK" sz="2400" b="0" dirty="0">
                <a:solidFill>
                  <a:schemeClr val="tx2"/>
                </a:solidFill>
              </a:rPr>
              <a:t>| Vi tester og lancerer 3 serviceprincipper</a:t>
            </a:r>
          </a:p>
        </p:txBody>
      </p:sp>
      <p:sp>
        <p:nvSpPr>
          <p:cNvPr id="12" name="Rektangel 11">
            <a:extLst>
              <a:ext uri="{FF2B5EF4-FFF2-40B4-BE49-F238E27FC236}">
                <a16:creationId xmlns:a16="http://schemas.microsoft.com/office/drawing/2014/main" id="{DB3448BA-2625-B0A7-10B8-E6138D4F6C42}"/>
              </a:ext>
            </a:extLst>
          </p:cNvPr>
          <p:cNvSpPr/>
          <p:nvPr/>
        </p:nvSpPr>
        <p:spPr>
          <a:xfrm>
            <a:off x="2302200" y="1663610"/>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1" name="Rektangel 10">
            <a:extLst>
              <a:ext uri="{FF2B5EF4-FFF2-40B4-BE49-F238E27FC236}">
                <a16:creationId xmlns:a16="http://schemas.microsoft.com/office/drawing/2014/main" id="{6B62C5F2-80E3-73D9-6341-B1AFC0E1B847}"/>
              </a:ext>
            </a:extLst>
          </p:cNvPr>
          <p:cNvSpPr/>
          <p:nvPr/>
        </p:nvSpPr>
        <p:spPr>
          <a:xfrm>
            <a:off x="3997919" y="1663611"/>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Vis overskud og nærvær, når du giver personlig betjening og tag initiativ til dialog. </a:t>
            </a:r>
          </a:p>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Et ”Er du okay?” til en kollega eller et smil og et ”hej igen” til en kunde gør en forskel</a:t>
            </a:r>
            <a:endParaRPr lang="da-DK" sz="1400" dirty="0"/>
          </a:p>
        </p:txBody>
      </p:sp>
      <p:sp>
        <p:nvSpPr>
          <p:cNvPr id="8" name="Pil: pentagon 7">
            <a:extLst>
              <a:ext uri="{FF2B5EF4-FFF2-40B4-BE49-F238E27FC236}">
                <a16:creationId xmlns:a16="http://schemas.microsoft.com/office/drawing/2014/main" id="{E604293E-24F2-1E92-79D6-61C309DE9764}"/>
              </a:ext>
            </a:extLst>
          </p:cNvPr>
          <p:cNvSpPr/>
          <p:nvPr/>
        </p:nvSpPr>
        <p:spPr>
          <a:xfrm>
            <a:off x="469108" y="1663612"/>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Vær opmærksom</a:t>
            </a:r>
          </a:p>
        </p:txBody>
      </p:sp>
      <p:sp>
        <p:nvSpPr>
          <p:cNvPr id="13" name="Rektangel 12">
            <a:extLst>
              <a:ext uri="{FF2B5EF4-FFF2-40B4-BE49-F238E27FC236}">
                <a16:creationId xmlns:a16="http://schemas.microsoft.com/office/drawing/2014/main" id="{89E68A81-F5C3-62EA-4A16-5A0731DF7907}"/>
              </a:ext>
            </a:extLst>
          </p:cNvPr>
          <p:cNvSpPr/>
          <p:nvPr/>
        </p:nvSpPr>
        <p:spPr>
          <a:xfrm>
            <a:off x="2302200" y="3227946"/>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4" name="Rektangel 13">
            <a:extLst>
              <a:ext uri="{FF2B5EF4-FFF2-40B4-BE49-F238E27FC236}">
                <a16:creationId xmlns:a16="http://schemas.microsoft.com/office/drawing/2014/main" id="{8ABC75B7-ADF3-0D19-2099-6E65406B5CAC}"/>
              </a:ext>
            </a:extLst>
          </p:cNvPr>
          <p:cNvSpPr/>
          <p:nvPr/>
        </p:nvSpPr>
        <p:spPr>
          <a:xfrm>
            <a:off x="3997919" y="3227947"/>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Når kunden spørger, finder vi svaret. Du kan ikke vide alt, men du kan altid få hjælp hos dine kollegaer</a:t>
            </a:r>
            <a:endParaRPr lang="da-DK" sz="1400" dirty="0"/>
          </a:p>
        </p:txBody>
      </p:sp>
      <p:sp>
        <p:nvSpPr>
          <p:cNvPr id="15" name="Pil: pentagon 14">
            <a:extLst>
              <a:ext uri="{FF2B5EF4-FFF2-40B4-BE49-F238E27FC236}">
                <a16:creationId xmlns:a16="http://schemas.microsoft.com/office/drawing/2014/main" id="{EF202B8D-AE7E-75A4-9DEA-231D6A64873E}"/>
              </a:ext>
            </a:extLst>
          </p:cNvPr>
          <p:cNvSpPr/>
          <p:nvPr/>
        </p:nvSpPr>
        <p:spPr>
          <a:xfrm>
            <a:off x="469108" y="3227948"/>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Gør det nemt</a:t>
            </a:r>
          </a:p>
        </p:txBody>
      </p:sp>
      <p:sp>
        <p:nvSpPr>
          <p:cNvPr id="16" name="Rektangel 15">
            <a:extLst>
              <a:ext uri="{FF2B5EF4-FFF2-40B4-BE49-F238E27FC236}">
                <a16:creationId xmlns:a16="http://schemas.microsoft.com/office/drawing/2014/main" id="{11CB1E1C-E064-AAF0-0AF4-FA779AB8B5C1}"/>
              </a:ext>
            </a:extLst>
          </p:cNvPr>
          <p:cNvSpPr/>
          <p:nvPr/>
        </p:nvSpPr>
        <p:spPr>
          <a:xfrm>
            <a:off x="2302200" y="4792281"/>
            <a:ext cx="3375619"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1400" dirty="0"/>
          </a:p>
        </p:txBody>
      </p:sp>
      <p:sp>
        <p:nvSpPr>
          <p:cNvPr id="17" name="Rektangel 16">
            <a:extLst>
              <a:ext uri="{FF2B5EF4-FFF2-40B4-BE49-F238E27FC236}">
                <a16:creationId xmlns:a16="http://schemas.microsoft.com/office/drawing/2014/main" id="{7BE52E0D-15E0-BC5E-0D13-D53C8214B17A}"/>
              </a:ext>
            </a:extLst>
          </p:cNvPr>
          <p:cNvSpPr/>
          <p:nvPr/>
        </p:nvSpPr>
        <p:spPr>
          <a:xfrm>
            <a:off x="3997919" y="4792282"/>
            <a:ext cx="7724180" cy="11977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0" lang="da-DK" sz="1400" b="0" i="0" u="none" strike="noStrike" kern="1200" cap="none" spc="0" normalizeH="0" baseline="0" noProof="0" dirty="0">
                <a:ln>
                  <a:noFill/>
                </a:ln>
                <a:solidFill>
                  <a:prstClr val="black"/>
                </a:solidFill>
                <a:effectLst/>
                <a:uLnTx/>
                <a:uFillTx/>
                <a:latin typeface="COOP" panose="02010504010101010104" pitchFamily="2" charset="0"/>
                <a:ea typeface="+mn-ea"/>
                <a:cs typeface="+mn-cs"/>
              </a:rPr>
              <a:t>Vi stoler på din evne til at træffe gode beslutninger, så vær ikke bange for at få forrest og tage ansvar. Vi har alle sammen ansvar for at gøre kunderne glade og hjælpe, hvor der er behov</a:t>
            </a:r>
            <a:endParaRPr lang="da-DK" sz="1400" dirty="0"/>
          </a:p>
        </p:txBody>
      </p:sp>
      <p:sp>
        <p:nvSpPr>
          <p:cNvPr id="18" name="Pil: pentagon 17">
            <a:extLst>
              <a:ext uri="{FF2B5EF4-FFF2-40B4-BE49-F238E27FC236}">
                <a16:creationId xmlns:a16="http://schemas.microsoft.com/office/drawing/2014/main" id="{3D59D436-9FC4-3B05-6C89-E66FC3145DCA}"/>
              </a:ext>
            </a:extLst>
          </p:cNvPr>
          <p:cNvSpPr/>
          <p:nvPr/>
        </p:nvSpPr>
        <p:spPr>
          <a:xfrm>
            <a:off x="469108" y="4792283"/>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Tag ejerskab</a:t>
            </a:r>
          </a:p>
        </p:txBody>
      </p:sp>
    </p:spTree>
    <p:extLst>
      <p:ext uri="{BB962C8B-B14F-4D97-AF65-F5344CB8AC3E}">
        <p14:creationId xmlns:p14="http://schemas.microsoft.com/office/powerpoint/2010/main" val="1362405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03CF4-A8CF-483D-8E9E-C969EFF5A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4D503CF4-A8CF-483D-8E9E-C969EFF5A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5CB6C2-72C6-43F7-8DD1-CFDD53D6CFA1}"/>
              </a:ext>
            </a:extLst>
          </p:cNvPr>
          <p:cNvSpPr>
            <a:spLocks noGrp="1"/>
          </p:cNvSpPr>
          <p:nvPr>
            <p:ph type="title"/>
          </p:nvPr>
        </p:nvSpPr>
        <p:spPr>
          <a:xfrm>
            <a:off x="469900" y="402586"/>
            <a:ext cx="11312797" cy="853141"/>
          </a:xfrm>
        </p:spPr>
        <p:txBody>
          <a:bodyPr vert="horz"/>
          <a:lstStyle/>
          <a:p>
            <a:r>
              <a:rPr lang="da-DK"/>
              <a:t>Unikke aktiver</a:t>
            </a:r>
            <a:r>
              <a:rPr lang="da-DK" b="0"/>
              <a:t> | Coop er en stærk spiller på det danske marked og har en lang række unikke aktiver</a:t>
            </a:r>
          </a:p>
        </p:txBody>
      </p:sp>
      <p:sp>
        <p:nvSpPr>
          <p:cNvPr id="47" name="TextBox 46">
            <a:extLst>
              <a:ext uri="{FF2B5EF4-FFF2-40B4-BE49-F238E27FC236}">
                <a16:creationId xmlns:a16="http://schemas.microsoft.com/office/drawing/2014/main" id="{385B8C14-4643-8A17-3518-6EF90F8758D7}"/>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3</a:t>
            </a:fld>
            <a:endParaRPr lang="da-DK" sz="800" kern="1200">
              <a:solidFill>
                <a:schemeClr val="bg1">
                  <a:lumMod val="50000"/>
                </a:schemeClr>
              </a:solidFill>
              <a:latin typeface="+mn-lt"/>
              <a:ea typeface="+mn-ea"/>
              <a:cs typeface="+mn-cs"/>
              <a:sym typeface="Trebuchet MS" panose="020B0603020202020204" pitchFamily="34" charset="0"/>
            </a:endParaRPr>
          </a:p>
        </p:txBody>
      </p:sp>
      <p:grpSp>
        <p:nvGrpSpPr>
          <p:cNvPr id="59" name="Group 58">
            <a:extLst>
              <a:ext uri="{FF2B5EF4-FFF2-40B4-BE49-F238E27FC236}">
                <a16:creationId xmlns:a16="http://schemas.microsoft.com/office/drawing/2014/main" id="{7461A43B-B144-A8AC-FD96-0487A03D008F}"/>
              </a:ext>
            </a:extLst>
          </p:cNvPr>
          <p:cNvGrpSpPr/>
          <p:nvPr/>
        </p:nvGrpSpPr>
        <p:grpSpPr>
          <a:xfrm>
            <a:off x="538428" y="1255727"/>
            <a:ext cx="2191052" cy="2439972"/>
            <a:chOff x="538428" y="1255727"/>
            <a:chExt cx="2191052" cy="2439972"/>
          </a:xfrm>
        </p:grpSpPr>
        <p:pic>
          <p:nvPicPr>
            <p:cNvPr id="11" name="Picture 10">
              <a:extLst>
                <a:ext uri="{FF2B5EF4-FFF2-40B4-BE49-F238E27FC236}">
                  <a16:creationId xmlns:a16="http://schemas.microsoft.com/office/drawing/2014/main" id="{DB5E596D-B72C-03D2-C63D-A3F59DEF3D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38615" y="1255727"/>
              <a:ext cx="2190678" cy="1746136"/>
            </a:xfrm>
            <a:prstGeom prst="rect">
              <a:avLst/>
            </a:prstGeom>
          </p:spPr>
        </p:pic>
        <p:sp>
          <p:nvSpPr>
            <p:cNvPr id="32" name="TextBox 31">
              <a:extLst>
                <a:ext uri="{FF2B5EF4-FFF2-40B4-BE49-F238E27FC236}">
                  <a16:creationId xmlns:a16="http://schemas.microsoft.com/office/drawing/2014/main" id="{81D0AAC8-F489-1CA8-45D7-F4A632036E0B}"/>
                </a:ext>
              </a:extLst>
            </p:cNvPr>
            <p:cNvSpPr txBox="1">
              <a:spLocks/>
            </p:cNvSpPr>
            <p:nvPr/>
          </p:nvSpPr>
          <p:spPr>
            <a:xfrm>
              <a:off x="538428"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da-DK" sz="1600" b="1">
                  <a:solidFill>
                    <a:schemeClr val="bg1"/>
                  </a:solidFill>
                </a:rPr>
                <a:t>DK’s største butiksnetværk</a:t>
              </a:r>
            </a:p>
          </p:txBody>
        </p:sp>
        <p:sp>
          <p:nvSpPr>
            <p:cNvPr id="15" name="Rectangle 14">
              <a:extLst>
                <a:ext uri="{FF2B5EF4-FFF2-40B4-BE49-F238E27FC236}">
                  <a16:creationId xmlns:a16="http://schemas.microsoft.com/office/drawing/2014/main" id="{A54873ED-E164-410F-4A12-330F3C7AFD5C}"/>
                </a:ext>
              </a:extLst>
            </p:cNvPr>
            <p:cNvSpPr/>
            <p:nvPr/>
          </p:nvSpPr>
          <p:spPr>
            <a:xfrm>
              <a:off x="538428"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9" name="Group 3078">
            <a:extLst>
              <a:ext uri="{FF2B5EF4-FFF2-40B4-BE49-F238E27FC236}">
                <a16:creationId xmlns:a16="http://schemas.microsoft.com/office/drawing/2014/main" id="{C3597C4E-A6AC-D71E-CC83-39EC3EA128C5}"/>
              </a:ext>
            </a:extLst>
          </p:cNvPr>
          <p:cNvGrpSpPr/>
          <p:nvPr/>
        </p:nvGrpSpPr>
        <p:grpSpPr>
          <a:xfrm>
            <a:off x="2769450" y="1255726"/>
            <a:ext cx="2191053" cy="2439973"/>
            <a:chOff x="2769450" y="1255726"/>
            <a:chExt cx="2191053" cy="2439973"/>
          </a:xfrm>
        </p:grpSpPr>
        <p:pic>
          <p:nvPicPr>
            <p:cNvPr id="57" name="Billede 26" descr="Et billede, der indeholder gulv, bord, mad, indendørs&#10;&#10;Automatisk genereret beskrivelse">
              <a:extLst>
                <a:ext uri="{FF2B5EF4-FFF2-40B4-BE49-F238E27FC236}">
                  <a16:creationId xmlns:a16="http://schemas.microsoft.com/office/drawing/2014/main" id="{775BB8F7-80C2-7993-C899-A36C3D2CEC0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3340"/>
            <a:stretch/>
          </p:blipFill>
          <p:spPr>
            <a:xfrm>
              <a:off x="2769450" y="1255726"/>
              <a:ext cx="2191051" cy="1770455"/>
            </a:xfrm>
            <a:prstGeom prst="rect">
              <a:avLst/>
            </a:prstGeom>
          </p:spPr>
        </p:pic>
        <p:sp>
          <p:nvSpPr>
            <p:cNvPr id="16" name="Rectangle 15">
              <a:extLst>
                <a:ext uri="{FF2B5EF4-FFF2-40B4-BE49-F238E27FC236}">
                  <a16:creationId xmlns:a16="http://schemas.microsoft.com/office/drawing/2014/main" id="{B36404B7-65BE-5F26-E4C1-D28CD6CFDB46}"/>
                </a:ext>
              </a:extLst>
            </p:cNvPr>
            <p:cNvSpPr/>
            <p:nvPr/>
          </p:nvSpPr>
          <p:spPr>
            <a:xfrm>
              <a:off x="2769451"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TextBox 32">
              <a:extLst>
                <a:ext uri="{FF2B5EF4-FFF2-40B4-BE49-F238E27FC236}">
                  <a16:creationId xmlns:a16="http://schemas.microsoft.com/office/drawing/2014/main" id="{AE5CC5F2-0747-A3F9-A918-2779B23980E8}"/>
                </a:ext>
              </a:extLst>
            </p:cNvPr>
            <p:cNvSpPr txBox="1">
              <a:spLocks/>
            </p:cNvSpPr>
            <p:nvPr/>
          </p:nvSpPr>
          <p:spPr>
            <a:xfrm>
              <a:off x="2769451"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Anden størst på dagligvare markedet</a:t>
              </a:r>
            </a:p>
          </p:txBody>
        </p:sp>
      </p:grpSp>
      <p:grpSp>
        <p:nvGrpSpPr>
          <p:cNvPr id="3075" name="Group 3074">
            <a:extLst>
              <a:ext uri="{FF2B5EF4-FFF2-40B4-BE49-F238E27FC236}">
                <a16:creationId xmlns:a16="http://schemas.microsoft.com/office/drawing/2014/main" id="{1712BC3F-20EE-5836-434B-917EA21237B6}"/>
              </a:ext>
            </a:extLst>
          </p:cNvPr>
          <p:cNvGrpSpPr/>
          <p:nvPr/>
        </p:nvGrpSpPr>
        <p:grpSpPr>
          <a:xfrm>
            <a:off x="5000471" y="1255727"/>
            <a:ext cx="2191055" cy="2439972"/>
            <a:chOff x="5000471" y="1255727"/>
            <a:chExt cx="2191055" cy="2439972"/>
          </a:xfrm>
        </p:grpSpPr>
        <p:pic>
          <p:nvPicPr>
            <p:cNvPr id="3080" name="Picture 8" descr="2020">
              <a:extLst>
                <a:ext uri="{FF2B5EF4-FFF2-40B4-BE49-F238E27FC236}">
                  <a16:creationId xmlns:a16="http://schemas.microsoft.com/office/drawing/2014/main" id="{EF015FA1-3F9F-4C87-3835-2225F951CE8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000471" y="1255727"/>
              <a:ext cx="2191055" cy="16976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B65D2DB-6A79-9DDA-F7D2-89600D9B6AA2}"/>
                </a:ext>
              </a:extLst>
            </p:cNvPr>
            <p:cNvSpPr txBox="1">
              <a:spLocks/>
            </p:cNvSpPr>
            <p:nvPr/>
          </p:nvSpPr>
          <p:spPr>
            <a:xfrm>
              <a:off x="5000474"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Unik position på ansvarlighed</a:t>
              </a:r>
            </a:p>
          </p:txBody>
        </p:sp>
        <p:sp>
          <p:nvSpPr>
            <p:cNvPr id="17" name="Rectangle 16">
              <a:extLst>
                <a:ext uri="{FF2B5EF4-FFF2-40B4-BE49-F238E27FC236}">
                  <a16:creationId xmlns:a16="http://schemas.microsoft.com/office/drawing/2014/main" id="{0BFBFFEA-B8CF-0451-8254-6898858B52AF}"/>
                </a:ext>
              </a:extLst>
            </p:cNvPr>
            <p:cNvSpPr/>
            <p:nvPr/>
          </p:nvSpPr>
          <p:spPr>
            <a:xfrm>
              <a:off x="5000474"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2" name="Group 3071">
            <a:extLst>
              <a:ext uri="{FF2B5EF4-FFF2-40B4-BE49-F238E27FC236}">
                <a16:creationId xmlns:a16="http://schemas.microsoft.com/office/drawing/2014/main" id="{9F5CE05C-1D87-90E4-926A-218903A865E8}"/>
              </a:ext>
            </a:extLst>
          </p:cNvPr>
          <p:cNvGrpSpPr/>
          <p:nvPr/>
        </p:nvGrpSpPr>
        <p:grpSpPr>
          <a:xfrm>
            <a:off x="9462519" y="1255727"/>
            <a:ext cx="2197827" cy="2439972"/>
            <a:chOff x="9462519" y="1255727"/>
            <a:chExt cx="2197827" cy="2439972"/>
          </a:xfrm>
        </p:grpSpPr>
        <p:pic>
          <p:nvPicPr>
            <p:cNvPr id="48" name="Picture 4" descr="Økologi varer gruppe">
              <a:extLst>
                <a:ext uri="{FF2B5EF4-FFF2-40B4-BE49-F238E27FC236}">
                  <a16:creationId xmlns:a16="http://schemas.microsoft.com/office/drawing/2014/main" id="{A0297CCB-8EED-36DE-C9A8-258287023A4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462519" y="1255727"/>
              <a:ext cx="2197827" cy="170547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898745BC-708E-8449-27FA-CA194EF4FFB3}"/>
                </a:ext>
              </a:extLst>
            </p:cNvPr>
            <p:cNvSpPr txBox="1">
              <a:spLocks/>
            </p:cNvSpPr>
            <p:nvPr/>
          </p:nvSpPr>
          <p:spPr>
            <a:xfrm>
              <a:off x="9462520"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e egne varemærker</a:t>
              </a:r>
            </a:p>
          </p:txBody>
        </p:sp>
        <p:sp>
          <p:nvSpPr>
            <p:cNvPr id="20" name="Rectangle 19">
              <a:extLst>
                <a:ext uri="{FF2B5EF4-FFF2-40B4-BE49-F238E27FC236}">
                  <a16:creationId xmlns:a16="http://schemas.microsoft.com/office/drawing/2014/main" id="{B12B399C-982F-45F8-2C41-D9416F597B6C}"/>
                </a:ext>
              </a:extLst>
            </p:cNvPr>
            <p:cNvSpPr/>
            <p:nvPr/>
          </p:nvSpPr>
          <p:spPr>
            <a:xfrm>
              <a:off x="9462520"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3" name="Group 3072">
            <a:extLst>
              <a:ext uri="{FF2B5EF4-FFF2-40B4-BE49-F238E27FC236}">
                <a16:creationId xmlns:a16="http://schemas.microsoft.com/office/drawing/2014/main" id="{E9FAFE04-1A33-832A-6434-6D7597A1E7B0}"/>
              </a:ext>
            </a:extLst>
          </p:cNvPr>
          <p:cNvGrpSpPr/>
          <p:nvPr/>
        </p:nvGrpSpPr>
        <p:grpSpPr>
          <a:xfrm>
            <a:off x="7231497" y="1255727"/>
            <a:ext cx="2191052" cy="2439972"/>
            <a:chOff x="7231497" y="1255727"/>
            <a:chExt cx="2191052" cy="2439972"/>
          </a:xfrm>
        </p:grpSpPr>
        <p:sp>
          <p:nvSpPr>
            <p:cNvPr id="37" name="TextBox 36">
              <a:extLst>
                <a:ext uri="{FF2B5EF4-FFF2-40B4-BE49-F238E27FC236}">
                  <a16:creationId xmlns:a16="http://schemas.microsoft.com/office/drawing/2014/main" id="{DC9650D3-7E1B-0B05-DA06-016D9BC73AD9}"/>
                </a:ext>
              </a:extLst>
            </p:cNvPr>
            <p:cNvSpPr txBox="1">
              <a:spLocks/>
            </p:cNvSpPr>
            <p:nvPr/>
          </p:nvSpPr>
          <p:spPr>
            <a:xfrm>
              <a:off x="7231497"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Førende loyalitetsprogram</a:t>
              </a:r>
            </a:p>
          </p:txBody>
        </p:sp>
        <p:sp>
          <p:nvSpPr>
            <p:cNvPr id="19" name="Rectangle 18">
              <a:extLst>
                <a:ext uri="{FF2B5EF4-FFF2-40B4-BE49-F238E27FC236}">
                  <a16:creationId xmlns:a16="http://schemas.microsoft.com/office/drawing/2014/main" id="{2FBE714C-ED39-BF68-68F3-C33F680F16AB}"/>
                </a:ext>
              </a:extLst>
            </p:cNvPr>
            <p:cNvSpPr/>
            <p:nvPr/>
          </p:nvSpPr>
          <p:spPr>
            <a:xfrm>
              <a:off x="7231497"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5" name="Picture 24" descr="A screen shot of a cell phone&#10;&#10;Description automatically generated">
              <a:extLst>
                <a:ext uri="{FF2B5EF4-FFF2-40B4-BE49-F238E27FC236}">
                  <a16:creationId xmlns:a16="http://schemas.microsoft.com/office/drawing/2014/main" id="{2C648434-65D5-BD52-DCB5-BC1E37FBA7B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10242" y="1315509"/>
              <a:ext cx="833563" cy="1583769"/>
            </a:xfrm>
            <a:prstGeom prst="rect">
              <a:avLst/>
            </a:prstGeom>
          </p:spPr>
        </p:pic>
      </p:grpSp>
      <p:grpSp>
        <p:nvGrpSpPr>
          <p:cNvPr id="60" name="Group 59">
            <a:extLst>
              <a:ext uri="{FF2B5EF4-FFF2-40B4-BE49-F238E27FC236}">
                <a16:creationId xmlns:a16="http://schemas.microsoft.com/office/drawing/2014/main" id="{8E9CB63F-99AA-ACDA-CF9D-A18B3DD738F5}"/>
              </a:ext>
            </a:extLst>
          </p:cNvPr>
          <p:cNvGrpSpPr/>
          <p:nvPr/>
        </p:nvGrpSpPr>
        <p:grpSpPr>
          <a:xfrm>
            <a:off x="545041" y="3814344"/>
            <a:ext cx="2191054" cy="2440577"/>
            <a:chOff x="1697981" y="3814344"/>
            <a:chExt cx="2191054" cy="2440577"/>
          </a:xfrm>
        </p:grpSpPr>
        <p:pic>
          <p:nvPicPr>
            <p:cNvPr id="38" name="Picture 37" descr="A picture containing building, outdoor, sky, road&#10;&#10;Description automatically generated">
              <a:extLst>
                <a:ext uri="{FF2B5EF4-FFF2-40B4-BE49-F238E27FC236}">
                  <a16:creationId xmlns:a16="http://schemas.microsoft.com/office/drawing/2014/main" id="{FAB9437B-C49F-6799-9180-585B3B0344E7}"/>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697981" y="3814948"/>
              <a:ext cx="2191053" cy="1704268"/>
            </a:xfrm>
            <a:prstGeom prst="rect">
              <a:avLst/>
            </a:prstGeom>
          </p:spPr>
        </p:pic>
        <p:sp>
          <p:nvSpPr>
            <p:cNvPr id="39" name="TextBox 38">
              <a:extLst>
                <a:ext uri="{FF2B5EF4-FFF2-40B4-BE49-F238E27FC236}">
                  <a16:creationId xmlns:a16="http://schemas.microsoft.com/office/drawing/2014/main" id="{201FEC22-08D5-0C56-75B0-308A472675E1}"/>
                </a:ext>
              </a:extLst>
            </p:cNvPr>
            <p:cNvSpPr txBox="1">
              <a:spLocks/>
            </p:cNvSpPr>
            <p:nvPr/>
          </p:nvSpPr>
          <p:spPr>
            <a:xfrm>
              <a:off x="1697983" y="5520424"/>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365 – DK’s hurtigst voksende kæde</a:t>
              </a:r>
            </a:p>
          </p:txBody>
        </p:sp>
        <p:sp>
          <p:nvSpPr>
            <p:cNvPr id="27" name="Rectangle 26">
              <a:extLst>
                <a:ext uri="{FF2B5EF4-FFF2-40B4-BE49-F238E27FC236}">
                  <a16:creationId xmlns:a16="http://schemas.microsoft.com/office/drawing/2014/main" id="{B30008ED-C12F-A39F-EF23-CD49D6295BFD}"/>
                </a:ext>
              </a:extLst>
            </p:cNvPr>
            <p:cNvSpPr/>
            <p:nvPr/>
          </p:nvSpPr>
          <p:spPr>
            <a:xfrm>
              <a:off x="1697983"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1" name="Group 60">
            <a:extLst>
              <a:ext uri="{FF2B5EF4-FFF2-40B4-BE49-F238E27FC236}">
                <a16:creationId xmlns:a16="http://schemas.microsoft.com/office/drawing/2014/main" id="{75CEB00A-46BC-65D7-4DB4-9308FF3B9D25}"/>
              </a:ext>
            </a:extLst>
          </p:cNvPr>
          <p:cNvGrpSpPr/>
          <p:nvPr/>
        </p:nvGrpSpPr>
        <p:grpSpPr>
          <a:xfrm>
            <a:off x="2776066" y="3814344"/>
            <a:ext cx="2191052" cy="2439973"/>
            <a:chOff x="3929006" y="3814344"/>
            <a:chExt cx="2191052" cy="2439973"/>
          </a:xfrm>
        </p:grpSpPr>
        <p:pic>
          <p:nvPicPr>
            <p:cNvPr id="49" name="Billede 8" descr="Et billede, der indeholder tekst, indendørs, person, butik&#10;&#10;Automatisk genereret beskrivelse">
              <a:extLst>
                <a:ext uri="{FF2B5EF4-FFF2-40B4-BE49-F238E27FC236}">
                  <a16:creationId xmlns:a16="http://schemas.microsoft.com/office/drawing/2014/main" id="{B5F15A8F-F472-0AFF-2F24-9A3CBE15AAA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929006" y="3814344"/>
              <a:ext cx="2191052" cy="1718503"/>
            </a:xfrm>
            <a:prstGeom prst="rect">
              <a:avLst/>
            </a:prstGeom>
          </p:spPr>
        </p:pic>
        <p:sp>
          <p:nvSpPr>
            <p:cNvPr id="40" name="TextBox 39">
              <a:extLst>
                <a:ext uri="{FF2B5EF4-FFF2-40B4-BE49-F238E27FC236}">
                  <a16:creationId xmlns:a16="http://schemas.microsoft.com/office/drawing/2014/main" id="{8F52ED5E-F57C-2EAC-28EA-C0D998B2425E}"/>
                </a:ext>
              </a:extLst>
            </p:cNvPr>
            <p:cNvSpPr txBox="1">
              <a:spLocks/>
            </p:cNvSpPr>
            <p:nvPr/>
          </p:nvSpPr>
          <p:spPr>
            <a:xfrm>
              <a:off x="3929006"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2 mio. medlemmer  (ejere)</a:t>
              </a:r>
            </a:p>
          </p:txBody>
        </p:sp>
        <p:sp>
          <p:nvSpPr>
            <p:cNvPr id="29" name="Rectangle 28">
              <a:extLst>
                <a:ext uri="{FF2B5EF4-FFF2-40B4-BE49-F238E27FC236}">
                  <a16:creationId xmlns:a16="http://schemas.microsoft.com/office/drawing/2014/main" id="{39FB3983-77B8-4EDF-44F6-962BB58AEADA}"/>
                </a:ext>
              </a:extLst>
            </p:cNvPr>
            <p:cNvSpPr/>
            <p:nvPr/>
          </p:nvSpPr>
          <p:spPr>
            <a:xfrm>
              <a:off x="3929006"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2" name="Group 61">
            <a:extLst>
              <a:ext uri="{FF2B5EF4-FFF2-40B4-BE49-F238E27FC236}">
                <a16:creationId xmlns:a16="http://schemas.microsoft.com/office/drawing/2014/main" id="{6E65B43D-2858-7B7C-D8EC-EAC34A19EFF5}"/>
              </a:ext>
            </a:extLst>
          </p:cNvPr>
          <p:cNvGrpSpPr/>
          <p:nvPr/>
        </p:nvGrpSpPr>
        <p:grpSpPr>
          <a:xfrm>
            <a:off x="5007089" y="3814344"/>
            <a:ext cx="2191052" cy="2439973"/>
            <a:chOff x="6160029" y="3814344"/>
            <a:chExt cx="2191052" cy="2439973"/>
          </a:xfrm>
        </p:grpSpPr>
        <p:pic>
          <p:nvPicPr>
            <p:cNvPr id="46" name="Billede 3" descr="Et billede, der indeholder person, træ, udendørs, personer&#10;&#10;Automatisk genereret beskrivelse">
              <a:extLst>
                <a:ext uri="{FF2B5EF4-FFF2-40B4-BE49-F238E27FC236}">
                  <a16:creationId xmlns:a16="http://schemas.microsoft.com/office/drawing/2014/main" id="{7084A015-1D8C-8332-E9C8-15613D198FD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60030" y="3814773"/>
              <a:ext cx="2191051" cy="1703611"/>
            </a:xfrm>
            <a:prstGeom prst="rect">
              <a:avLst/>
            </a:prstGeom>
          </p:spPr>
        </p:pic>
        <p:sp>
          <p:nvSpPr>
            <p:cNvPr id="41" name="TextBox 40">
              <a:extLst>
                <a:ext uri="{FF2B5EF4-FFF2-40B4-BE49-F238E27FC236}">
                  <a16:creationId xmlns:a16="http://schemas.microsoft.com/office/drawing/2014/main" id="{D62015FD-4E0A-D3E6-3299-E887AEB4DFCE}"/>
                </a:ext>
              </a:extLst>
            </p:cNvPr>
            <p:cNvSpPr txBox="1">
              <a:spLocks/>
            </p:cNvSpPr>
            <p:nvPr/>
          </p:nvSpPr>
          <p:spPr>
            <a:xfrm>
              <a:off x="6160029"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 lokal forankring</a:t>
              </a:r>
            </a:p>
          </p:txBody>
        </p:sp>
        <p:sp>
          <p:nvSpPr>
            <p:cNvPr id="34" name="Rectangle 33">
              <a:extLst>
                <a:ext uri="{FF2B5EF4-FFF2-40B4-BE49-F238E27FC236}">
                  <a16:creationId xmlns:a16="http://schemas.microsoft.com/office/drawing/2014/main" id="{1390C281-E631-57F6-D7C7-05F55CA1EC1F}"/>
                </a:ext>
              </a:extLst>
            </p:cNvPr>
            <p:cNvSpPr/>
            <p:nvPr/>
          </p:nvSpPr>
          <p:spPr>
            <a:xfrm>
              <a:off x="6160029"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8" name="Group 17">
            <a:extLst>
              <a:ext uri="{FF2B5EF4-FFF2-40B4-BE49-F238E27FC236}">
                <a16:creationId xmlns:a16="http://schemas.microsoft.com/office/drawing/2014/main" id="{374383EF-DB7B-23FB-F363-D4048CAE7D51}"/>
              </a:ext>
            </a:extLst>
          </p:cNvPr>
          <p:cNvGrpSpPr/>
          <p:nvPr/>
        </p:nvGrpSpPr>
        <p:grpSpPr>
          <a:xfrm>
            <a:off x="7238111" y="3814344"/>
            <a:ext cx="2192338" cy="2439973"/>
            <a:chOff x="7238111" y="3814344"/>
            <a:chExt cx="2192338" cy="2439973"/>
          </a:xfrm>
        </p:grpSpPr>
        <p:pic>
          <p:nvPicPr>
            <p:cNvPr id="1030" name="Picture 6" descr="Coop har besluttet at åbne en SuperBrugsen i Nærheden og har derfor investeret i at få bygget lokaler i bydelen.">
              <a:extLst>
                <a:ext uri="{FF2B5EF4-FFF2-40B4-BE49-F238E27FC236}">
                  <a16:creationId xmlns:a16="http://schemas.microsoft.com/office/drawing/2014/main" id="{85D9CCCA-1686-3A2E-B3C1-6100AD30E40B}"/>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238111" y="3814344"/>
              <a:ext cx="2192338" cy="170404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9F1E3530-09B4-D596-DC3B-4F0F35AE8377}"/>
                </a:ext>
              </a:extLst>
            </p:cNvPr>
            <p:cNvSpPr txBox="1">
              <a:spLocks/>
            </p:cNvSpPr>
            <p:nvPr/>
          </p:nvSpPr>
          <p:spPr>
            <a:xfrm>
              <a:off x="723811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Mange attraktive lokationer &amp; ejendomme</a:t>
              </a:r>
            </a:p>
          </p:txBody>
        </p:sp>
        <p:sp>
          <p:nvSpPr>
            <p:cNvPr id="36" name="Rectangle 35">
              <a:extLst>
                <a:ext uri="{FF2B5EF4-FFF2-40B4-BE49-F238E27FC236}">
                  <a16:creationId xmlns:a16="http://schemas.microsoft.com/office/drawing/2014/main" id="{2EB77A85-39D6-A024-D900-DA418E01BEF7}"/>
                </a:ext>
              </a:extLst>
            </p:cNvPr>
            <p:cNvSpPr/>
            <p:nvPr/>
          </p:nvSpPr>
          <p:spPr>
            <a:xfrm>
              <a:off x="723811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1" name="Group 20">
            <a:extLst>
              <a:ext uri="{FF2B5EF4-FFF2-40B4-BE49-F238E27FC236}">
                <a16:creationId xmlns:a16="http://schemas.microsoft.com/office/drawing/2014/main" id="{2A2CEB84-D59A-AA98-CCB5-F35E0FB17770}"/>
              </a:ext>
            </a:extLst>
          </p:cNvPr>
          <p:cNvGrpSpPr/>
          <p:nvPr/>
        </p:nvGrpSpPr>
        <p:grpSpPr>
          <a:xfrm>
            <a:off x="9469294" y="3814343"/>
            <a:ext cx="2191052" cy="2440633"/>
            <a:chOff x="9469294" y="3814343"/>
            <a:chExt cx="2191052" cy="2440633"/>
          </a:xfrm>
        </p:grpSpPr>
        <p:pic>
          <p:nvPicPr>
            <p:cNvPr id="1026" name="Picture 2" descr="Historien bag OK - Bliv klogere omkring OKs stiftelse">
              <a:extLst>
                <a:ext uri="{FF2B5EF4-FFF2-40B4-BE49-F238E27FC236}">
                  <a16:creationId xmlns:a16="http://schemas.microsoft.com/office/drawing/2014/main" id="{DBE49133-4A49-A91E-C816-42ECE0B7A0B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478660" y="3814343"/>
              <a:ext cx="2177822" cy="17879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E1FFD512-0270-1AAB-E42B-8AFAD4EB6C9E}"/>
                </a:ext>
              </a:extLst>
            </p:cNvPr>
            <p:cNvGrpSpPr/>
            <p:nvPr/>
          </p:nvGrpSpPr>
          <p:grpSpPr>
            <a:xfrm>
              <a:off x="9469294" y="3815003"/>
              <a:ext cx="2191052" cy="2439973"/>
              <a:chOff x="8391052" y="3814344"/>
              <a:chExt cx="2191052" cy="2439973"/>
            </a:xfrm>
          </p:grpSpPr>
          <p:sp>
            <p:nvSpPr>
              <p:cNvPr id="9" name="TextBox 8">
                <a:extLst>
                  <a:ext uri="{FF2B5EF4-FFF2-40B4-BE49-F238E27FC236}">
                    <a16:creationId xmlns:a16="http://schemas.microsoft.com/office/drawing/2014/main" id="{7DA65513-4A68-0F7B-03F6-8CCFF62F51BB}"/>
                  </a:ext>
                </a:extLst>
              </p:cNvPr>
              <p:cNvSpPr txBox="1">
                <a:spLocks/>
              </p:cNvSpPr>
              <p:nvPr/>
            </p:nvSpPr>
            <p:spPr>
              <a:xfrm>
                <a:off x="839105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Tæt samarbejde med OK</a:t>
                </a:r>
              </a:p>
            </p:txBody>
          </p:sp>
          <p:sp>
            <p:nvSpPr>
              <p:cNvPr id="10" name="Rectangle 9">
                <a:extLst>
                  <a:ext uri="{FF2B5EF4-FFF2-40B4-BE49-F238E27FC236}">
                    <a16:creationId xmlns:a16="http://schemas.microsoft.com/office/drawing/2014/main" id="{87638518-EF3A-119E-E119-78D09C4F73F6}"/>
                  </a:ext>
                </a:extLst>
              </p:cNvPr>
              <p:cNvSpPr/>
              <p:nvPr/>
            </p:nvSpPr>
            <p:spPr>
              <a:xfrm>
                <a:off x="839105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Tree>
    <p:extLst>
      <p:ext uri="{BB962C8B-B14F-4D97-AF65-F5344CB8AC3E}">
        <p14:creationId xmlns:p14="http://schemas.microsoft.com/office/powerpoint/2010/main" val="97696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2" descr="A picture containing text, person&#10;&#10;Description automatically generated">
            <a:extLst>
              <a:ext uri="{FF2B5EF4-FFF2-40B4-BE49-F238E27FC236}">
                <a16:creationId xmlns:a16="http://schemas.microsoft.com/office/drawing/2014/main" id="{7DC03A78-BDC4-A654-A2CD-FC3A6586B35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0"/>
            <a:ext cx="12192792" cy="6858000"/>
          </a:xfrm>
          <a:prstGeom prst="rect">
            <a:avLst/>
          </a:prstGeom>
        </p:spPr>
      </p:pic>
      <p:sp>
        <p:nvSpPr>
          <p:cNvPr id="3" name="GradientOverlay">
            <a:extLst>
              <a:ext uri="{FF2B5EF4-FFF2-40B4-BE49-F238E27FC236}">
                <a16:creationId xmlns:a16="http://schemas.microsoft.com/office/drawing/2014/main" id="{D479D231-067A-4505-4F93-8DE217CF421E}"/>
              </a:ext>
            </a:extLst>
          </p:cNvPr>
          <p:cNvSpPr/>
          <p:nvPr>
            <p:custDataLst>
              <p:tags r:id="rId1"/>
            </p:custDataLst>
          </p:nvPr>
        </p:nvSpPr>
        <p:spPr>
          <a:xfrm>
            <a:off x="0" y="-1"/>
            <a:ext cx="12192002" cy="6858001"/>
          </a:xfrm>
          <a:prstGeom prst="rect">
            <a:avLst/>
          </a:prstGeom>
          <a:solidFill>
            <a:schemeClr val="bg1">
              <a:alpha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COOP" pitchFamily="2" charset="0"/>
              <a:ea typeface="+mn-ea"/>
              <a:cs typeface="+mn-cs"/>
              <a:sym typeface="+mn-lt"/>
            </a:endParaRPr>
          </a:p>
        </p:txBody>
      </p:sp>
      <p:sp>
        <p:nvSpPr>
          <p:cNvPr id="10" name="Title 1">
            <a:extLst>
              <a:ext uri="{FF2B5EF4-FFF2-40B4-BE49-F238E27FC236}">
                <a16:creationId xmlns:a16="http://schemas.microsoft.com/office/drawing/2014/main" id="{BA016F86-4225-DA70-CC97-F8190EEF573D}"/>
              </a:ext>
            </a:extLst>
          </p:cNvPr>
          <p:cNvSpPr txBox="1">
            <a:spLocks/>
          </p:cNvSpPr>
          <p:nvPr/>
        </p:nvSpPr>
        <p:spPr>
          <a:xfrm>
            <a:off x="469900" y="402586"/>
            <a:ext cx="11312797" cy="853141"/>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r>
              <a:rPr lang="da-DK" sz="2400" dirty="0">
                <a:solidFill>
                  <a:schemeClr val="tx2"/>
                </a:solidFill>
              </a:rPr>
              <a:t>Nyt anerkendelsesprogram</a:t>
            </a:r>
            <a:r>
              <a:rPr lang="da-DK" sz="2400" b="0" dirty="0">
                <a:solidFill>
                  <a:schemeClr val="tx2"/>
                </a:solidFill>
              </a:rPr>
              <a:t>| Kollega likes</a:t>
            </a:r>
          </a:p>
        </p:txBody>
      </p:sp>
      <p:pic>
        <p:nvPicPr>
          <p:cNvPr id="4" name="Billede 3">
            <a:extLst>
              <a:ext uri="{FF2B5EF4-FFF2-40B4-BE49-F238E27FC236}">
                <a16:creationId xmlns:a16="http://schemas.microsoft.com/office/drawing/2014/main" id="{AF480EEB-075A-3428-4B66-3049D5E008E8}"/>
              </a:ext>
            </a:extLst>
          </p:cNvPr>
          <p:cNvPicPr>
            <a:picLocks noChangeAspect="1"/>
          </p:cNvPicPr>
          <p:nvPr/>
        </p:nvPicPr>
        <p:blipFill>
          <a:blip r:embed="rId5"/>
          <a:stretch>
            <a:fillRect/>
          </a:stretch>
        </p:blipFill>
        <p:spPr>
          <a:xfrm>
            <a:off x="7403184" y="797833"/>
            <a:ext cx="4182218" cy="5907536"/>
          </a:xfrm>
          <a:prstGeom prst="rect">
            <a:avLst/>
          </a:prstGeom>
        </p:spPr>
      </p:pic>
      <p:sp>
        <p:nvSpPr>
          <p:cNvPr id="5" name="Pil: pentagon 4">
            <a:extLst>
              <a:ext uri="{FF2B5EF4-FFF2-40B4-BE49-F238E27FC236}">
                <a16:creationId xmlns:a16="http://schemas.microsoft.com/office/drawing/2014/main" id="{41BBBAE2-C6B7-1727-7069-78927AE2DC21}"/>
              </a:ext>
            </a:extLst>
          </p:cNvPr>
          <p:cNvSpPr/>
          <p:nvPr/>
        </p:nvSpPr>
        <p:spPr>
          <a:xfrm>
            <a:off x="469108" y="1663612"/>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Vær opmærksom</a:t>
            </a:r>
          </a:p>
        </p:txBody>
      </p:sp>
      <p:sp>
        <p:nvSpPr>
          <p:cNvPr id="6" name="Pil: pentagon 5">
            <a:extLst>
              <a:ext uri="{FF2B5EF4-FFF2-40B4-BE49-F238E27FC236}">
                <a16:creationId xmlns:a16="http://schemas.microsoft.com/office/drawing/2014/main" id="{B296B4BC-4C2A-F1C3-1B13-48CB7A2DDD7C}"/>
              </a:ext>
            </a:extLst>
          </p:cNvPr>
          <p:cNvSpPr/>
          <p:nvPr/>
        </p:nvSpPr>
        <p:spPr>
          <a:xfrm>
            <a:off x="469108" y="3227948"/>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Gør det nemt</a:t>
            </a:r>
          </a:p>
        </p:txBody>
      </p:sp>
      <p:sp>
        <p:nvSpPr>
          <p:cNvPr id="7" name="Pil: pentagon 6">
            <a:extLst>
              <a:ext uri="{FF2B5EF4-FFF2-40B4-BE49-F238E27FC236}">
                <a16:creationId xmlns:a16="http://schemas.microsoft.com/office/drawing/2014/main" id="{44C7AA06-FC0D-E7BE-4B5E-855407608AEE}"/>
              </a:ext>
            </a:extLst>
          </p:cNvPr>
          <p:cNvSpPr/>
          <p:nvPr/>
        </p:nvSpPr>
        <p:spPr>
          <a:xfrm>
            <a:off x="469108" y="4792283"/>
            <a:ext cx="3528811" cy="1197736"/>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b="1" dirty="0"/>
              <a:t>Tag ejerskab</a:t>
            </a:r>
          </a:p>
        </p:txBody>
      </p:sp>
      <p:pic>
        <p:nvPicPr>
          <p:cNvPr id="9" name="Grafik 8" descr="Tommelfingeren opad med massiv udfyldning">
            <a:extLst>
              <a:ext uri="{FF2B5EF4-FFF2-40B4-BE49-F238E27FC236}">
                <a16:creationId xmlns:a16="http://schemas.microsoft.com/office/drawing/2014/main" id="{9498813F-9E88-0696-2E69-5C270FBB20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67027" y="1487133"/>
            <a:ext cx="1374215" cy="1374215"/>
          </a:xfrm>
          <a:prstGeom prst="rect">
            <a:avLst/>
          </a:prstGeom>
        </p:spPr>
      </p:pic>
      <p:pic>
        <p:nvPicPr>
          <p:cNvPr id="11" name="Grafik 10" descr="Tommelfingeren opad med massiv udfyldning">
            <a:extLst>
              <a:ext uri="{FF2B5EF4-FFF2-40B4-BE49-F238E27FC236}">
                <a16:creationId xmlns:a16="http://schemas.microsoft.com/office/drawing/2014/main" id="{4A149AFD-B92F-6577-0FB0-C87C97F0B8A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67027" y="3051469"/>
            <a:ext cx="1374215" cy="1374215"/>
          </a:xfrm>
          <a:prstGeom prst="rect">
            <a:avLst/>
          </a:prstGeom>
        </p:spPr>
      </p:pic>
      <p:pic>
        <p:nvPicPr>
          <p:cNvPr id="12" name="Grafik 11" descr="Tommelfingeren opad med massiv udfyldning">
            <a:extLst>
              <a:ext uri="{FF2B5EF4-FFF2-40B4-BE49-F238E27FC236}">
                <a16:creationId xmlns:a16="http://schemas.microsoft.com/office/drawing/2014/main" id="{9CDE6101-3A60-E34F-8269-1426B04F64F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67027" y="4615804"/>
            <a:ext cx="1374215" cy="1374215"/>
          </a:xfrm>
          <a:prstGeom prst="rect">
            <a:avLst/>
          </a:prstGeom>
        </p:spPr>
      </p:pic>
    </p:spTree>
    <p:extLst>
      <p:ext uri="{BB962C8B-B14F-4D97-AF65-F5344CB8AC3E}">
        <p14:creationId xmlns:p14="http://schemas.microsoft.com/office/powerpoint/2010/main" val="3165702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A33958-2265-4DC0-BF69-C815B07FF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kt 4" hidden="1">
                        <a:extLst>
                          <a:ext uri="{FF2B5EF4-FFF2-40B4-BE49-F238E27FC236}">
                            <a16:creationId xmlns:a16="http://schemas.microsoft.com/office/drawing/2014/main" id="{E9A33958-2265-4DC0-BF69-C815B07FF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Coop: Mellem idealer og marked - Gå til historien | Nordjyske.dk">
            <a:extLst>
              <a:ext uri="{FF2B5EF4-FFF2-40B4-BE49-F238E27FC236}">
                <a16:creationId xmlns:a16="http://schemas.microsoft.com/office/drawing/2014/main" id="{13104D60-5279-4E64-A339-3B20AB7E6A54}"/>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6">
            <a:extLst>
              <a:ext uri="{FF2B5EF4-FFF2-40B4-BE49-F238E27FC236}">
                <a16:creationId xmlns:a16="http://schemas.microsoft.com/office/drawing/2014/main" id="{F3FF5092-FEF0-4917-A5A3-98A0B55DC6FF}"/>
              </a:ext>
            </a:extLst>
          </p:cNvPr>
          <p:cNvSpPr/>
          <p:nvPr/>
        </p:nvSpPr>
        <p:spPr>
          <a:xfrm>
            <a:off x="-1" y="0"/>
            <a:ext cx="10728961" cy="6858000"/>
          </a:xfrm>
          <a:prstGeom prst="rect">
            <a:avLst/>
          </a:prstGeom>
          <a:gradFill flip="none" rotWithShape="1">
            <a:gsLst>
              <a:gs pos="0">
                <a:srgbClr val="DCD7C8"/>
              </a:gs>
              <a:gs pos="59000">
                <a:srgbClr val="DCD7C8"/>
              </a:gs>
              <a:gs pos="84000">
                <a:srgbClr val="DCD7C8">
                  <a:alpha val="66000"/>
                </a:srgbClr>
              </a:gs>
              <a:gs pos="100000">
                <a:srgbClr val="DCD7C8">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Pastor H.C. Sonne (1817-80) | fynhistorie.dk">
            <a:extLst>
              <a:ext uri="{FF2B5EF4-FFF2-40B4-BE49-F238E27FC236}">
                <a16:creationId xmlns:a16="http://schemas.microsoft.com/office/drawing/2014/main" id="{68926A88-DEF7-4CE7-BAD6-BDFD40AD6B3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81030" y="555763"/>
            <a:ext cx="3977639" cy="5746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kstfelt 11">
            <a:extLst>
              <a:ext uri="{FF2B5EF4-FFF2-40B4-BE49-F238E27FC236}">
                <a16:creationId xmlns:a16="http://schemas.microsoft.com/office/drawing/2014/main" id="{AF1908A9-96EC-4EFF-8168-9513DBB05AAC}"/>
              </a:ext>
            </a:extLst>
          </p:cNvPr>
          <p:cNvSpPr txBox="1"/>
          <p:nvPr/>
        </p:nvSpPr>
        <p:spPr>
          <a:xfrm>
            <a:off x="4833258" y="668014"/>
            <a:ext cx="5416731" cy="5539978"/>
          </a:xfrm>
          <a:prstGeom prst="rect">
            <a:avLst/>
          </a:prstGeom>
          <a:noFill/>
        </p:spPr>
        <p:txBody>
          <a:bodyPr wrap="square" lIns="0" tIns="0" rIns="0" bIns="0" rtlCol="0">
            <a:spAutoFit/>
          </a:bodyPr>
          <a:lstStyle/>
          <a:p>
            <a:pPr algn="l"/>
            <a:r>
              <a:rPr lang="da-DK" sz="6000">
                <a:solidFill>
                  <a:schemeClr val="accent1"/>
                </a:solidFill>
                <a:latin typeface="+mj-lt"/>
              </a:rPr>
              <a:t>Vi kæmper for en </a:t>
            </a:r>
            <a:r>
              <a:rPr lang="da-DK" sz="6000" b="1">
                <a:solidFill>
                  <a:schemeClr val="accent1"/>
                </a:solidFill>
                <a:latin typeface="+mj-lt"/>
              </a:rPr>
              <a:t>bedre</a:t>
            </a:r>
            <a:r>
              <a:rPr lang="da-DK" sz="6000">
                <a:solidFill>
                  <a:schemeClr val="accent1"/>
                </a:solidFill>
                <a:latin typeface="+mj-lt"/>
              </a:rPr>
              <a:t> og mere </a:t>
            </a:r>
            <a:r>
              <a:rPr lang="da-DK" sz="6000" b="1">
                <a:solidFill>
                  <a:schemeClr val="accent1"/>
                </a:solidFill>
                <a:latin typeface="+mj-lt"/>
              </a:rPr>
              <a:t>bæredygtig</a:t>
            </a:r>
            <a:r>
              <a:rPr lang="da-DK" sz="6000">
                <a:solidFill>
                  <a:schemeClr val="accent1"/>
                </a:solidFill>
                <a:latin typeface="+mj-lt"/>
              </a:rPr>
              <a:t> hverdag for alle</a:t>
            </a:r>
            <a:endParaRPr lang="en-US" sz="6000">
              <a:solidFill>
                <a:schemeClr val="accent1"/>
              </a:solidFill>
              <a:latin typeface="+mj-lt"/>
            </a:endParaRPr>
          </a:p>
        </p:txBody>
      </p:sp>
    </p:spTree>
    <p:extLst>
      <p:ext uri="{BB962C8B-B14F-4D97-AF65-F5344CB8AC3E}">
        <p14:creationId xmlns:p14="http://schemas.microsoft.com/office/powerpoint/2010/main" val="338991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85D37D-71E7-4F04-B15C-58AC834E2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085D37D-71E7-4F04-B15C-58AC834E22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5666" name="Picture 66">
            <a:extLst>
              <a:ext uri="{FF2B5EF4-FFF2-40B4-BE49-F238E27FC236}">
                <a16:creationId xmlns:a16="http://schemas.microsoft.com/office/drawing/2014/main" id="{E2865841-76A7-404F-AB53-5E4AE739155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88117" y="1452279"/>
            <a:ext cx="2128789"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60" name="Picture 60" descr="Billedresultat for Coop app">
            <a:extLst>
              <a:ext uri="{FF2B5EF4-FFF2-40B4-BE49-F238E27FC236}">
                <a16:creationId xmlns:a16="http://schemas.microsoft.com/office/drawing/2014/main" id="{C49E19CD-3E7B-4882-A089-6E4521D400C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30882" r="30955"/>
          <a:stretch/>
        </p:blipFill>
        <p:spPr bwMode="auto">
          <a:xfrm>
            <a:off x="2753348" y="1452279"/>
            <a:ext cx="2132882"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54" name="Picture 54">
            <a:extLst>
              <a:ext uri="{FF2B5EF4-FFF2-40B4-BE49-F238E27FC236}">
                <a16:creationId xmlns:a16="http://schemas.microsoft.com/office/drawing/2014/main" id="{1169E91C-0799-4480-A1EC-AF44F637E73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75094" y="1452279"/>
            <a:ext cx="2136973"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30" name="Picture 30" descr="Billedresultat for Tilbud Coop app">
            <a:extLst>
              <a:ext uri="{FF2B5EF4-FFF2-40B4-BE49-F238E27FC236}">
                <a16:creationId xmlns:a16="http://schemas.microsoft.com/office/drawing/2014/main" id="{0D9EAF20-87E8-4AEE-BFCF-B7CE36C4795A}"/>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5027513" y="1452279"/>
            <a:ext cx="2136974"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16" name="Picture 16">
            <a:extLst>
              <a:ext uri="{FF2B5EF4-FFF2-40B4-BE49-F238E27FC236}">
                <a16:creationId xmlns:a16="http://schemas.microsoft.com/office/drawing/2014/main" id="{9396225E-3985-4E02-8F8A-E5CD74D45F7A}"/>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5400000">
            <a:off x="6511328" y="2250813"/>
            <a:ext cx="3725855" cy="21287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F905C80C-8DFD-4981-9A8B-B83C8F9FC2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2" name="Slide Number Placeholder 1">
            <a:extLst>
              <a:ext uri="{FF2B5EF4-FFF2-40B4-BE49-F238E27FC236}">
                <a16:creationId xmlns:a16="http://schemas.microsoft.com/office/drawing/2014/main" id="{6745B0DA-7EDB-46BE-994D-37B905DF4AC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4" name="Title 3">
            <a:extLst>
              <a:ext uri="{FF2B5EF4-FFF2-40B4-BE49-F238E27FC236}">
                <a16:creationId xmlns:a16="http://schemas.microsoft.com/office/drawing/2014/main" id="{9F519EE3-6078-4C72-BA40-97CAD7C1F530}"/>
              </a:ext>
            </a:extLst>
          </p:cNvPr>
          <p:cNvSpPr>
            <a:spLocks noGrp="1"/>
          </p:cNvSpPr>
          <p:nvPr>
            <p:ph type="title"/>
          </p:nvPr>
        </p:nvSpPr>
        <p:spPr/>
        <p:txBody>
          <a:bodyPr vert="horz">
            <a:normAutofit/>
          </a:bodyPr>
          <a:lstStyle/>
          <a:p>
            <a:r>
              <a:rPr lang="da-DK">
                <a:latin typeface="+mj-lt"/>
              </a:rPr>
              <a:t>Coop arbejder i forbrugernes tjeneste, og kæmper for dem via fem Coop missioner …  </a:t>
            </a:r>
          </a:p>
        </p:txBody>
      </p:sp>
      <p:sp>
        <p:nvSpPr>
          <p:cNvPr id="8" name="Rectangle 7">
            <a:extLst>
              <a:ext uri="{FF2B5EF4-FFF2-40B4-BE49-F238E27FC236}">
                <a16:creationId xmlns:a16="http://schemas.microsoft.com/office/drawing/2014/main" id="{D70AF0EB-C78B-4274-8D22-51C65A1C88DC}"/>
              </a:ext>
            </a:extLst>
          </p:cNvPr>
          <p:cNvSpPr/>
          <p:nvPr/>
        </p:nvSpPr>
        <p:spPr>
          <a:xfrm>
            <a:off x="475094"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undhed &amp; Klima</a:t>
            </a:r>
          </a:p>
        </p:txBody>
      </p:sp>
      <p:sp>
        <p:nvSpPr>
          <p:cNvPr id="28" name="Rectangle 27">
            <a:extLst>
              <a:ext uri="{FF2B5EF4-FFF2-40B4-BE49-F238E27FC236}">
                <a16:creationId xmlns:a16="http://schemas.microsoft.com/office/drawing/2014/main" id="{5F3A0A20-F468-4109-B848-EE019D6C5CD2}"/>
              </a:ext>
            </a:extLst>
          </p:cNvPr>
          <p:cNvSpPr/>
          <p:nvPr/>
        </p:nvSpPr>
        <p:spPr>
          <a:xfrm>
            <a:off x="2753350"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penge</a:t>
            </a:r>
          </a:p>
        </p:txBody>
      </p:sp>
      <p:sp>
        <p:nvSpPr>
          <p:cNvPr id="29" name="Rectangle 28">
            <a:extLst>
              <a:ext uri="{FF2B5EF4-FFF2-40B4-BE49-F238E27FC236}">
                <a16:creationId xmlns:a16="http://schemas.microsoft.com/office/drawing/2014/main" id="{B628E0C6-F1E7-4CCA-9970-E4DAD7EE7BFD}"/>
              </a:ext>
            </a:extLst>
          </p:cNvPr>
          <p:cNvSpPr/>
          <p:nvPr/>
        </p:nvSpPr>
        <p:spPr>
          <a:xfrm>
            <a:off x="5031606"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tid</a:t>
            </a:r>
          </a:p>
        </p:txBody>
      </p:sp>
      <p:sp>
        <p:nvSpPr>
          <p:cNvPr id="30" name="Rectangle 29">
            <a:extLst>
              <a:ext uri="{FF2B5EF4-FFF2-40B4-BE49-F238E27FC236}">
                <a16:creationId xmlns:a16="http://schemas.microsoft.com/office/drawing/2014/main" id="{63B3EC92-4BCB-4B59-8CA0-423910961347}"/>
              </a:ext>
            </a:extLst>
          </p:cNvPr>
          <p:cNvSpPr/>
          <p:nvPr/>
        </p:nvSpPr>
        <p:spPr>
          <a:xfrm>
            <a:off x="9588117"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Lokal forskel</a:t>
            </a:r>
          </a:p>
        </p:txBody>
      </p:sp>
      <p:sp>
        <p:nvSpPr>
          <p:cNvPr id="31" name="Rectangle 30">
            <a:extLst>
              <a:ext uri="{FF2B5EF4-FFF2-40B4-BE49-F238E27FC236}">
                <a16:creationId xmlns:a16="http://schemas.microsoft.com/office/drawing/2014/main" id="{CF739F52-0AED-4E9E-987D-D9DBE12A4194}"/>
              </a:ext>
            </a:extLst>
          </p:cNvPr>
          <p:cNvSpPr/>
          <p:nvPr/>
        </p:nvSpPr>
        <p:spPr>
          <a:xfrm>
            <a:off x="7309863"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Bedre mad</a:t>
            </a:r>
          </a:p>
        </p:txBody>
      </p:sp>
    </p:spTree>
    <p:extLst>
      <p:ext uri="{BB962C8B-B14F-4D97-AF65-F5344CB8AC3E}">
        <p14:creationId xmlns:p14="http://schemas.microsoft.com/office/powerpoint/2010/main" val="270914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56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656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56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56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656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8" grpId="0" animBg="1"/>
      <p:bldP spid="29" grpId="0" animBg="1"/>
      <p:bldP spid="30"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0A5D93CF-73CF-4005-863F-DA28128025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14">
            <a:extLst>
              <a:ext uri="{FF2B5EF4-FFF2-40B4-BE49-F238E27FC236}">
                <a16:creationId xmlns:a16="http://schemas.microsoft.com/office/drawing/2014/main" id="{5D0457E5-FA4A-4C24-9ABC-F79698C87CC6}"/>
              </a:ext>
            </a:extLst>
          </p:cNvPr>
          <p:cNvSpPr/>
          <p:nvPr/>
        </p:nvSpPr>
        <p:spPr>
          <a:xfrm>
            <a:off x="1" y="-21182"/>
            <a:ext cx="12204734" cy="64861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COOP"/>
              <a:ea typeface="+mn-ea"/>
              <a:cs typeface="+mn-cs"/>
            </a:endParaRPr>
          </a:p>
        </p:txBody>
      </p:sp>
      <p:pic>
        <p:nvPicPr>
          <p:cNvPr id="57" name="Billede 3" descr="Et billede, der indeholder udendørs, græs, himmel, felt&#10;&#10;Automatisk genereret beskrivelse">
            <a:extLst>
              <a:ext uri="{FF2B5EF4-FFF2-40B4-BE49-F238E27FC236}">
                <a16:creationId xmlns:a16="http://schemas.microsoft.com/office/drawing/2014/main" id="{EA72F3D3-793A-48FA-9FF5-7DE4FC3225A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4" name="Rectangle 3" hidden="1">
            <a:extLst>
              <a:ext uri="{FF2B5EF4-FFF2-40B4-BE49-F238E27FC236}">
                <a16:creationId xmlns:a16="http://schemas.microsoft.com/office/drawing/2014/main" id="{62C4B233-9DB0-4F1D-BF31-46D940E99AB4}"/>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5" name="Slide Number Placeholder 4">
            <a:extLst>
              <a:ext uri="{FF2B5EF4-FFF2-40B4-BE49-F238E27FC236}">
                <a16:creationId xmlns:a16="http://schemas.microsoft.com/office/drawing/2014/main" id="{656846D5-A66F-483F-84C0-F827BEFD7DF2}"/>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da-DK"/>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phic 11">
            <a:extLst>
              <a:ext uri="{FF2B5EF4-FFF2-40B4-BE49-F238E27FC236}">
                <a16:creationId xmlns:a16="http://schemas.microsoft.com/office/drawing/2014/main" id="{BFDAF06C-ABDF-4E4C-B46F-C7971D6A4D0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8" name="Ligebenet trekant 33">
            <a:extLst>
              <a:ext uri="{FF2B5EF4-FFF2-40B4-BE49-F238E27FC236}">
                <a16:creationId xmlns:a16="http://schemas.microsoft.com/office/drawing/2014/main" id="{DB6F9927-419F-4DE2-9C5C-B642D08E2BF1}"/>
              </a:ext>
            </a:extLst>
          </p:cNvPr>
          <p:cNvSpPr/>
          <p:nvPr/>
        </p:nvSpPr>
        <p:spPr>
          <a:xfrm rot="16200000" flipV="1">
            <a:off x="3940014" y="3997684"/>
            <a:ext cx="4311970" cy="214827"/>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38" name="Rektangel 35">
            <a:extLst>
              <a:ext uri="{FF2B5EF4-FFF2-40B4-BE49-F238E27FC236}">
                <a16:creationId xmlns:a16="http://schemas.microsoft.com/office/drawing/2014/main" id="{447E8E9E-79ED-415A-A288-79F220C596ED}"/>
              </a:ext>
            </a:extLst>
          </p:cNvPr>
          <p:cNvSpPr/>
          <p:nvPr/>
        </p:nvSpPr>
        <p:spPr>
          <a:xfrm>
            <a:off x="6558090" y="1951063"/>
            <a:ext cx="5029719" cy="4219993"/>
          </a:xfrm>
          <a:prstGeom prst="rect">
            <a:avLst/>
          </a:prstGeom>
          <a:solidFill>
            <a:schemeClr val="bg1">
              <a:alpha val="56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39" name="Tekstfelt 62">
            <a:extLst>
              <a:ext uri="{FF2B5EF4-FFF2-40B4-BE49-F238E27FC236}">
                <a16:creationId xmlns:a16="http://schemas.microsoft.com/office/drawing/2014/main" id="{F9E9F2DB-A215-4C35-BD98-2EA87927E865}"/>
              </a:ext>
            </a:extLst>
          </p:cNvPr>
          <p:cNvSpPr txBox="1"/>
          <p:nvPr/>
        </p:nvSpPr>
        <p:spPr>
          <a:xfrm>
            <a:off x="6468192" y="1434058"/>
            <a:ext cx="2462743" cy="636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C31919"/>
                </a:solidFill>
                <a:effectLst/>
                <a:uLnTx/>
                <a:uFillTx/>
                <a:latin typeface="COOP"/>
                <a:ea typeface="+mn-ea"/>
                <a:cs typeface="+mn-cs"/>
              </a:rPr>
              <a:t>Fremtidens Coop</a:t>
            </a:r>
            <a:endParaRPr kumimoji="0" lang="en-US" sz="1800" b="1" i="0" u="none" strike="noStrike" kern="1200" cap="none" spc="0" normalizeH="0" baseline="0" noProof="0">
              <a:ln>
                <a:noFill/>
              </a:ln>
              <a:solidFill>
                <a:srgbClr val="C31919"/>
              </a:solidFill>
              <a:effectLst/>
              <a:uLnTx/>
              <a:uFillTx/>
              <a:latin typeface="COOP"/>
              <a:ea typeface="+mn-ea"/>
              <a:cs typeface="+mn-cs"/>
            </a:endParaRPr>
          </a:p>
        </p:txBody>
      </p:sp>
      <p:sp>
        <p:nvSpPr>
          <p:cNvPr id="44" name="Rektangel 67">
            <a:extLst>
              <a:ext uri="{FF2B5EF4-FFF2-40B4-BE49-F238E27FC236}">
                <a16:creationId xmlns:a16="http://schemas.microsoft.com/office/drawing/2014/main" id="{1A91D560-0E5E-4B2A-8104-B9B7CD57507F}"/>
              </a:ext>
            </a:extLst>
          </p:cNvPr>
          <p:cNvSpPr/>
          <p:nvPr/>
        </p:nvSpPr>
        <p:spPr>
          <a:xfrm>
            <a:off x="609373" y="1949115"/>
            <a:ext cx="5029719" cy="4211973"/>
          </a:xfrm>
          <a:prstGeom prst="rect">
            <a:avLst/>
          </a:prstGeom>
          <a:solidFill>
            <a:schemeClr val="bg1">
              <a:alpha val="56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45" name="Tekstfelt 68">
            <a:extLst>
              <a:ext uri="{FF2B5EF4-FFF2-40B4-BE49-F238E27FC236}">
                <a16:creationId xmlns:a16="http://schemas.microsoft.com/office/drawing/2014/main" id="{85F87A95-9C6E-41FB-94A7-C8030221219C}"/>
              </a:ext>
            </a:extLst>
          </p:cNvPr>
          <p:cNvSpPr txBox="1"/>
          <p:nvPr/>
        </p:nvSpPr>
        <p:spPr>
          <a:xfrm>
            <a:off x="572720" y="1434058"/>
            <a:ext cx="2336515" cy="636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C31919"/>
                </a:solidFill>
                <a:effectLst/>
                <a:uLnTx/>
                <a:uFillTx/>
                <a:latin typeface="COOP"/>
                <a:ea typeface="+mn-ea"/>
                <a:cs typeface="+mn-cs"/>
              </a:rPr>
              <a:t>Coop anno 2022</a:t>
            </a:r>
            <a:endParaRPr kumimoji="0" lang="en-US" sz="1800" b="1" i="0" u="none" strike="noStrike" kern="1200" cap="none" spc="0" normalizeH="0" baseline="0" noProof="0">
              <a:ln>
                <a:noFill/>
              </a:ln>
              <a:solidFill>
                <a:srgbClr val="C31919"/>
              </a:solidFill>
              <a:effectLst/>
              <a:uLnTx/>
              <a:uFillTx/>
              <a:latin typeface="COOP"/>
              <a:ea typeface="+mn-ea"/>
              <a:cs typeface="+mn-cs"/>
            </a:endParaRPr>
          </a:p>
        </p:txBody>
      </p:sp>
      <p:grpSp>
        <p:nvGrpSpPr>
          <p:cNvPr id="46" name="Gruppe 69">
            <a:extLst>
              <a:ext uri="{FF2B5EF4-FFF2-40B4-BE49-F238E27FC236}">
                <a16:creationId xmlns:a16="http://schemas.microsoft.com/office/drawing/2014/main" id="{64024DAD-B720-4DA7-866A-20F2569DD37D}"/>
              </a:ext>
            </a:extLst>
          </p:cNvPr>
          <p:cNvGrpSpPr/>
          <p:nvPr/>
        </p:nvGrpSpPr>
        <p:grpSpPr>
          <a:xfrm>
            <a:off x="900985" y="2248571"/>
            <a:ext cx="4509937" cy="3691455"/>
            <a:chOff x="1040532" y="2454260"/>
            <a:chExt cx="4137777" cy="3386835"/>
          </a:xfrm>
        </p:grpSpPr>
        <p:pic>
          <p:nvPicPr>
            <p:cNvPr id="47" name="Graphic 50">
              <a:extLst>
                <a:ext uri="{FF2B5EF4-FFF2-40B4-BE49-F238E27FC236}">
                  <a16:creationId xmlns:a16="http://schemas.microsoft.com/office/drawing/2014/main" id="{0CFDB16B-406F-4EE5-BE3E-E42E4C46525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883062" y="3334207"/>
              <a:ext cx="1057026" cy="479695"/>
            </a:xfrm>
            <a:prstGeom prst="rect">
              <a:avLst/>
            </a:prstGeom>
          </p:spPr>
        </p:pic>
        <p:pic>
          <p:nvPicPr>
            <p:cNvPr id="48" name="Graphic 51">
              <a:extLst>
                <a:ext uri="{FF2B5EF4-FFF2-40B4-BE49-F238E27FC236}">
                  <a16:creationId xmlns:a16="http://schemas.microsoft.com/office/drawing/2014/main" id="{2ACAF340-C11D-4FF6-A0DC-D48E7E0CB7B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40532" y="4968468"/>
              <a:ext cx="1266921" cy="363461"/>
            </a:xfrm>
            <a:prstGeom prst="rect">
              <a:avLst/>
            </a:prstGeom>
          </p:spPr>
        </p:pic>
        <p:pic>
          <p:nvPicPr>
            <p:cNvPr id="49" name="Picture 33" descr="SB-Coop_Logo_RGB">
              <a:extLst>
                <a:ext uri="{FF2B5EF4-FFF2-40B4-BE49-F238E27FC236}">
                  <a16:creationId xmlns:a16="http://schemas.microsoft.com/office/drawing/2014/main" id="{83B8A966-6F74-486E-9495-8877271BB7B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262114" y="2531859"/>
              <a:ext cx="1186191" cy="58791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5" descr="KV-Coop_Logo_RGB">
              <a:extLst>
                <a:ext uri="{FF2B5EF4-FFF2-40B4-BE49-F238E27FC236}">
                  <a16:creationId xmlns:a16="http://schemas.microsoft.com/office/drawing/2014/main" id="{DB6EDA42-41C9-43D2-BB30-96C5E3B82891}"/>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78191" y="3581394"/>
              <a:ext cx="1186191" cy="58791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7" descr="DB-Coop_Logo_RGB">
              <a:extLst>
                <a:ext uri="{FF2B5EF4-FFF2-40B4-BE49-F238E27FC236}">
                  <a16:creationId xmlns:a16="http://schemas.microsoft.com/office/drawing/2014/main" id="{E6DD1AC1-9F83-4B0E-B3EA-C3D84131D55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692234" y="2454260"/>
              <a:ext cx="1186192" cy="58791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3" descr="Coop-MAD-Logo">
              <a:extLst>
                <a:ext uri="{FF2B5EF4-FFF2-40B4-BE49-F238E27FC236}">
                  <a16:creationId xmlns:a16="http://schemas.microsoft.com/office/drawing/2014/main" id="{831C9110-ACF7-4884-BA28-3A34353786C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929139" y="4082960"/>
              <a:ext cx="1249170" cy="47186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6" descr="coopdk-shopping">
              <a:extLst>
                <a:ext uri="{FF2B5EF4-FFF2-40B4-BE49-F238E27FC236}">
                  <a16:creationId xmlns:a16="http://schemas.microsoft.com/office/drawing/2014/main" id="{70E2D9D0-6D68-4E5E-9AA0-C9A5270159AF}"/>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442451" y="5308571"/>
              <a:ext cx="1249170" cy="532524"/>
            </a:xfrm>
            <a:prstGeom prst="rect">
              <a:avLst/>
            </a:prstGeom>
            <a:noFill/>
            <a:extLst>
              <a:ext uri="{909E8E84-426E-40DD-AFC4-6F175D3DCCD1}">
                <a14:hiddenFill xmlns:a14="http://schemas.microsoft.com/office/drawing/2010/main">
                  <a:solidFill>
                    <a:srgbClr val="FFFFFF"/>
                  </a:solidFill>
                </a14:hiddenFill>
              </a:ext>
            </a:extLst>
          </p:spPr>
        </p:pic>
        <p:pic>
          <p:nvPicPr>
            <p:cNvPr id="54" name="Billede 77" descr="Et billede, der indeholder tekst, clipart&#10;&#10;Automatisk genereret beskrivelse">
              <a:extLst>
                <a:ext uri="{FF2B5EF4-FFF2-40B4-BE49-F238E27FC236}">
                  <a16:creationId xmlns:a16="http://schemas.microsoft.com/office/drawing/2014/main" id="{BFC34BA3-B6F2-4CFD-A5EB-BF17310A0D81}"/>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2558629" y="4189944"/>
              <a:ext cx="862572" cy="826357"/>
            </a:xfrm>
            <a:prstGeom prst="roundRect">
              <a:avLst>
                <a:gd name="adj" fmla="val 2723"/>
              </a:avLst>
            </a:prstGeom>
          </p:spPr>
        </p:pic>
      </p:grpSp>
      <p:grpSp>
        <p:nvGrpSpPr>
          <p:cNvPr id="29" name="Gruppe 34">
            <a:extLst>
              <a:ext uri="{FF2B5EF4-FFF2-40B4-BE49-F238E27FC236}">
                <a16:creationId xmlns:a16="http://schemas.microsoft.com/office/drawing/2014/main" id="{6014D8F6-FE35-4334-965F-EE68C2C40C00}"/>
              </a:ext>
            </a:extLst>
          </p:cNvPr>
          <p:cNvGrpSpPr/>
          <p:nvPr/>
        </p:nvGrpSpPr>
        <p:grpSpPr>
          <a:xfrm>
            <a:off x="7918621" y="2349560"/>
            <a:ext cx="1938761" cy="960381"/>
            <a:chOff x="6916904" y="3813901"/>
            <a:chExt cx="1158711" cy="573976"/>
          </a:xfrm>
        </p:grpSpPr>
        <p:pic>
          <p:nvPicPr>
            <p:cNvPr id="41" name="Picture 66" descr="Coop_logo">
              <a:extLst>
                <a:ext uri="{FF2B5EF4-FFF2-40B4-BE49-F238E27FC236}">
                  <a16:creationId xmlns:a16="http://schemas.microsoft.com/office/drawing/2014/main" id="{70AD9957-1F18-4D82-8BAB-C47FC66A9D06}"/>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916904" y="3813901"/>
              <a:ext cx="1158711" cy="33670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3" descr="Coop-MAD-Logo">
              <a:extLst>
                <a:ext uri="{FF2B5EF4-FFF2-40B4-BE49-F238E27FC236}">
                  <a16:creationId xmlns:a16="http://schemas.microsoft.com/office/drawing/2014/main" id="{FA8E4DC3-8B6C-441F-8930-3F5C57156D99}"/>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7170738" y="4223427"/>
              <a:ext cx="694247" cy="16445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Titel 3">
            <a:extLst>
              <a:ext uri="{FF2B5EF4-FFF2-40B4-BE49-F238E27FC236}">
                <a16:creationId xmlns:a16="http://schemas.microsoft.com/office/drawing/2014/main" id="{EDC3DC25-F5DD-4443-86DF-5C3FD375CD36}"/>
              </a:ext>
            </a:extLst>
          </p:cNvPr>
          <p:cNvSpPr txBox="1">
            <a:spLocks/>
          </p:cNvSpPr>
          <p:nvPr/>
        </p:nvSpPr>
        <p:spPr>
          <a:xfrm>
            <a:off x="469900" y="402586"/>
            <a:ext cx="11312797" cy="853141"/>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1"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Januar 2023 udmeldte vi en radikal forenkling af Coop under den nye strategiske retning: Fremtidens Coop</a:t>
            </a:r>
          </a:p>
        </p:txBody>
      </p:sp>
      <p:pic>
        <p:nvPicPr>
          <p:cNvPr id="3" name="Billede 2" descr="Et billede, der indeholder Font/skrifttype, tekst, skærmbillede, Grafik&#10;&#10;Automatisk genereret beskrivelse">
            <a:extLst>
              <a:ext uri="{FF2B5EF4-FFF2-40B4-BE49-F238E27FC236}">
                <a16:creationId xmlns:a16="http://schemas.microsoft.com/office/drawing/2014/main" id="{29FB16C2-62C6-40DE-B73B-7234FE85F77D}"/>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206206" y="4943621"/>
            <a:ext cx="1705098" cy="818606"/>
          </a:xfrm>
          <a:prstGeom prst="rect">
            <a:avLst/>
          </a:prstGeom>
        </p:spPr>
      </p:pic>
      <p:pic>
        <p:nvPicPr>
          <p:cNvPr id="1026" name="Picture 2" descr="365_logo_box_GREEN_RGB">
            <a:extLst>
              <a:ext uri="{FF2B5EF4-FFF2-40B4-BE49-F238E27FC236}">
                <a16:creationId xmlns:a16="http://schemas.microsoft.com/office/drawing/2014/main" id="{6E2C5DCB-9F0B-A361-79AA-0F4BEC44AC20}"/>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451854" y="3544740"/>
            <a:ext cx="1161618" cy="1112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630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28" name="Rectangle 74">
            <a:extLst>
              <a:ext uri="{FF2B5EF4-FFF2-40B4-BE49-F238E27FC236}">
                <a16:creationId xmlns:a16="http://schemas.microsoft.com/office/drawing/2014/main" id="{0936951C-4655-4DC8-AF80-C14458FB3718}"/>
              </a:ext>
            </a:extLst>
          </p:cNvPr>
          <p:cNvSpPr>
            <a:spLocks/>
          </p:cNvSpPr>
          <p:nvPr/>
        </p:nvSpPr>
        <p:spPr>
          <a:xfrm>
            <a:off x="8466208" y="4165875"/>
            <a:ext cx="3204265"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mest lokale nærbutik</a:t>
            </a:r>
          </a:p>
        </p:txBody>
      </p:sp>
      <p:sp>
        <p:nvSpPr>
          <p:cNvPr id="9" name="Rektangel: afrundede hjørner 8">
            <a:extLst>
              <a:ext uri="{FF2B5EF4-FFF2-40B4-BE49-F238E27FC236}">
                <a16:creationId xmlns:a16="http://schemas.microsoft.com/office/drawing/2014/main" id="{93AB5779-B7A9-4394-9B2F-01FC39528165}"/>
              </a:ext>
            </a:extLst>
          </p:cNvPr>
          <p:cNvSpPr/>
          <p:nvPr/>
        </p:nvSpPr>
        <p:spPr>
          <a:xfrm>
            <a:off x="4645510" y="2492819"/>
            <a:ext cx="3024000" cy="1670438"/>
          </a:xfrm>
          <a:prstGeom prst="roundRect">
            <a:avLst>
              <a:gd name="adj" fmla="val 7225"/>
            </a:avLst>
          </a:prstGeom>
          <a:solidFill>
            <a:srgbClr val="00B050">
              <a:alpha val="76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10" name="Picture 2">
            <a:extLst>
              <a:ext uri="{FF2B5EF4-FFF2-40B4-BE49-F238E27FC236}">
                <a16:creationId xmlns:a16="http://schemas.microsoft.com/office/drawing/2014/main" id="{C7D36C31-9CE6-4838-BE91-A2324096C1EC}"/>
              </a:ext>
            </a:extLst>
          </p:cNvPr>
          <p:cNvPicPr>
            <a:picLocks noChangeAspect="1" noChangeArrowheads="1"/>
          </p:cNvPicPr>
          <p:nvPr/>
        </p:nvPicPr>
        <p:blipFill rotWithShape="1">
          <a:blip r:embed="rId7" cstate="screen">
            <a:clrChange>
              <a:clrFrom>
                <a:srgbClr val="00AA46"/>
              </a:clrFrom>
              <a:clrTo>
                <a:srgbClr val="00AA46">
                  <a:alpha val="0"/>
                </a:srgbClr>
              </a:clrTo>
            </a:clrChange>
            <a:extLst>
              <a:ext uri="{28A0092B-C50C-407E-A947-70E740481C1C}">
                <a14:useLocalDpi xmlns:a14="http://schemas.microsoft.com/office/drawing/2010/main"/>
              </a:ext>
            </a:extLst>
          </a:blip>
          <a:srcRect/>
          <a:stretch/>
        </p:blipFill>
        <p:spPr bwMode="auto">
          <a:xfrm>
            <a:off x="5440806" y="2886075"/>
            <a:ext cx="1409367" cy="1140103"/>
          </a:xfrm>
          <a:prstGeom prst="rect">
            <a:avLst/>
          </a:prstGeom>
          <a:noFill/>
        </p:spPr>
      </p:pic>
      <p:sp>
        <p:nvSpPr>
          <p:cNvPr id="29" name="Rectangle 74">
            <a:extLst>
              <a:ext uri="{FF2B5EF4-FFF2-40B4-BE49-F238E27FC236}">
                <a16:creationId xmlns:a16="http://schemas.microsoft.com/office/drawing/2014/main" id="{FBBB287A-752D-496A-B7CC-82DED9E4EEC5}"/>
              </a:ext>
            </a:extLst>
          </p:cNvPr>
          <p:cNvSpPr>
            <a:spLocks/>
          </p:cNvSpPr>
          <p:nvPr/>
        </p:nvSpPr>
        <p:spPr>
          <a:xfrm>
            <a:off x="4523665" y="4165875"/>
            <a:ext cx="3473611"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grønne discountkæde</a:t>
            </a:r>
          </a:p>
        </p:txBody>
      </p:sp>
      <p:sp>
        <p:nvSpPr>
          <p:cNvPr id="8" name="Rektangel: afrundede hjørner 7">
            <a:extLst>
              <a:ext uri="{FF2B5EF4-FFF2-40B4-BE49-F238E27FC236}">
                <a16:creationId xmlns:a16="http://schemas.microsoft.com/office/drawing/2014/main" id="{F8B1648F-F0A8-4FFC-AB3B-1953D3871E1E}"/>
              </a:ext>
            </a:extLst>
          </p:cNvPr>
          <p:cNvSpPr/>
          <p:nvPr/>
        </p:nvSpPr>
        <p:spPr>
          <a:xfrm>
            <a:off x="8515546" y="2520527"/>
            <a:ext cx="3024000" cy="1670438"/>
          </a:xfrm>
          <a:prstGeom prst="roundRect">
            <a:avLst>
              <a:gd name="adj" fmla="val 7225"/>
            </a:avLst>
          </a:prstGeom>
          <a:solidFill>
            <a:schemeClr val="tx2">
              <a:alpha val="6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27" name="Rectangle 74">
            <a:extLst>
              <a:ext uri="{FF2B5EF4-FFF2-40B4-BE49-F238E27FC236}">
                <a16:creationId xmlns:a16="http://schemas.microsoft.com/office/drawing/2014/main" id="{164147DD-5655-430E-85E4-C32B4C245739}"/>
              </a:ext>
            </a:extLst>
          </p:cNvPr>
          <p:cNvSpPr>
            <a:spLocks/>
          </p:cNvSpPr>
          <p:nvPr/>
        </p:nvSpPr>
        <p:spPr>
          <a:xfrm>
            <a:off x="233681" y="4193583"/>
            <a:ext cx="3952076" cy="111711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førende og bæredygtige hverdagsmarked</a:t>
            </a:r>
          </a:p>
          <a:p>
            <a:pPr marL="393750" marR="0" lvl="1" indent="-285750" algn="ctr" defTabSz="91440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312797" cy="853141"/>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b="1"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Fremtidens Coop </a:t>
            </a:r>
            <a:r>
              <a:rPr kumimoji="0" lang="da-DK" sz="2400" b="0"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 Vi skaber vækst i Fremtidens Coop med tre stærke positioner</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49993" y="6550905"/>
            <a:ext cx="692014" cy="198770"/>
          </a:xfrm>
          <a:prstGeom prst="rect">
            <a:avLst/>
          </a:prstGeom>
        </p:spPr>
      </p:pic>
      <p:pic>
        <p:nvPicPr>
          <p:cNvPr id="23" name="Billede 22" descr="Et billede, der indeholder Font/skrifttype, tekst, skærmbillede, Grafik&#10;&#10;Automatisk genereret beskrivelse">
            <a:extLst>
              <a:ext uri="{FF2B5EF4-FFF2-40B4-BE49-F238E27FC236}">
                <a16:creationId xmlns:a16="http://schemas.microsoft.com/office/drawing/2014/main" id="{FB70EF6F-A287-4318-81C1-DA9F699E8874}"/>
              </a:ext>
            </a:extLst>
          </p:cNvPr>
          <p:cNvPicPr>
            <a:picLocks noChangeAspect="1"/>
          </p:cNvPicPr>
          <p:nvPr/>
        </p:nvPicPr>
        <p:blipFill>
          <a:blip r:embed="rId10" cstate="screen">
            <a:clrChange>
              <a:clrFrom>
                <a:srgbClr val="C31414"/>
              </a:clrFrom>
              <a:clrTo>
                <a:srgbClr val="C31414">
                  <a:alpha val="0"/>
                </a:srgbClr>
              </a:clrTo>
            </a:clrChange>
            <a:extLst>
              <a:ext uri="{28A0092B-C50C-407E-A947-70E740481C1C}">
                <a14:useLocalDpi xmlns:a14="http://schemas.microsoft.com/office/drawing/2010/main"/>
              </a:ext>
            </a:extLst>
          </a:blip>
          <a:stretch>
            <a:fillRect/>
          </a:stretch>
        </p:blipFill>
        <p:spPr>
          <a:xfrm>
            <a:off x="8836691" y="2819401"/>
            <a:ext cx="2402733" cy="1153536"/>
          </a:xfrm>
          <a:prstGeom prst="rect">
            <a:avLst/>
          </a:prstGeom>
        </p:spPr>
      </p:pic>
      <p:sp>
        <p:nvSpPr>
          <p:cNvPr id="30" name="Rektangel: afrundede hjørner 29">
            <a:extLst>
              <a:ext uri="{FF2B5EF4-FFF2-40B4-BE49-F238E27FC236}">
                <a16:creationId xmlns:a16="http://schemas.microsoft.com/office/drawing/2014/main" id="{7E0D4E00-85C0-4C69-A823-6EDD323645ED}"/>
              </a:ext>
            </a:extLst>
          </p:cNvPr>
          <p:cNvSpPr/>
          <p:nvPr/>
        </p:nvSpPr>
        <p:spPr>
          <a:xfrm>
            <a:off x="775474" y="2520527"/>
            <a:ext cx="3024000" cy="1670438"/>
          </a:xfrm>
          <a:prstGeom prst="roundRect">
            <a:avLst>
              <a:gd name="adj" fmla="val 7225"/>
            </a:avLst>
          </a:prstGeom>
          <a:solidFill>
            <a:srgbClr val="1D712E">
              <a:alpha val="79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grpSp>
        <p:nvGrpSpPr>
          <p:cNvPr id="13" name="Group 12">
            <a:extLst>
              <a:ext uri="{FF2B5EF4-FFF2-40B4-BE49-F238E27FC236}">
                <a16:creationId xmlns:a16="http://schemas.microsoft.com/office/drawing/2014/main" id="{179760B3-A122-56C3-664A-2FFEFAD0B658}"/>
              </a:ext>
            </a:extLst>
          </p:cNvPr>
          <p:cNvGrpSpPr/>
          <p:nvPr/>
        </p:nvGrpSpPr>
        <p:grpSpPr>
          <a:xfrm>
            <a:off x="1397182" y="3592561"/>
            <a:ext cx="877731" cy="435033"/>
            <a:chOff x="1139586" y="3530976"/>
            <a:chExt cx="1131692" cy="560904"/>
          </a:xfrm>
        </p:grpSpPr>
        <p:pic>
          <p:nvPicPr>
            <p:cNvPr id="1028" name="Picture 4" descr="SB_Butiksnavn_RGB">
              <a:extLst>
                <a:ext uri="{FF2B5EF4-FFF2-40B4-BE49-F238E27FC236}">
                  <a16:creationId xmlns:a16="http://schemas.microsoft.com/office/drawing/2014/main" id="{A9986400-8B55-875D-0553-91168608093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E56BCEA1-FA1E-56A7-BEC1-26FCCF7B37BC}"/>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12" name="Group 11">
            <a:extLst>
              <a:ext uri="{FF2B5EF4-FFF2-40B4-BE49-F238E27FC236}">
                <a16:creationId xmlns:a16="http://schemas.microsoft.com/office/drawing/2014/main" id="{2B51D9A8-75FF-B32F-B159-8539E86175EC}"/>
              </a:ext>
            </a:extLst>
          </p:cNvPr>
          <p:cNvGrpSpPr/>
          <p:nvPr/>
        </p:nvGrpSpPr>
        <p:grpSpPr>
          <a:xfrm>
            <a:off x="2300035" y="3583228"/>
            <a:ext cx="877731" cy="435033"/>
            <a:chOff x="2303670" y="3518942"/>
            <a:chExt cx="1131692" cy="560904"/>
          </a:xfrm>
        </p:grpSpPr>
        <p:pic>
          <p:nvPicPr>
            <p:cNvPr id="1026" name="Picture 2" descr="KV_Butiksnavn_RGB">
              <a:extLst>
                <a:ext uri="{FF2B5EF4-FFF2-40B4-BE49-F238E27FC236}">
                  <a16:creationId xmlns:a16="http://schemas.microsoft.com/office/drawing/2014/main" id="{D33BA199-A2DB-4B11-8965-E752FFFD830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2C0875FC-7E33-9AFF-E26D-398122A9580C}"/>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pic>
        <p:nvPicPr>
          <p:cNvPr id="1030" name="Picture 6" descr="COOP_LOGO_NEG_Typemark_RGB">
            <a:extLst>
              <a:ext uri="{FF2B5EF4-FFF2-40B4-BE49-F238E27FC236}">
                <a16:creationId xmlns:a16="http://schemas.microsoft.com/office/drawing/2014/main" id="{B8F9817C-7AFF-A986-8FA9-B5DDFD0E9A2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245442" y="2819066"/>
            <a:ext cx="2084066" cy="591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70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38EC024-887D-726D-7D13-7A42A4F57E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5" name="think-cell data - do not delete" hidden="1">
                        <a:extLst>
                          <a:ext uri="{FF2B5EF4-FFF2-40B4-BE49-F238E27FC236}">
                            <a16:creationId xmlns:a16="http://schemas.microsoft.com/office/drawing/2014/main" id="{D38EC024-887D-726D-7D13-7A42A4F57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6FDDC7-BB22-BA61-DD45-16E97A060858}"/>
              </a:ext>
            </a:extLst>
          </p:cNvPr>
          <p:cNvSpPr>
            <a:spLocks noGrp="1"/>
          </p:cNvSpPr>
          <p:nvPr>
            <p:ph type="title"/>
          </p:nvPr>
        </p:nvSpPr>
        <p:spPr/>
        <p:txBody>
          <a:bodyPr vert="horz"/>
          <a:lstStyle/>
          <a:p>
            <a:r>
              <a:rPr lang="da-DK"/>
              <a:t>Introduktion </a:t>
            </a:r>
            <a:r>
              <a:rPr lang="da-DK" b="0"/>
              <a:t>| Coops kæder i tal</a:t>
            </a:r>
          </a:p>
        </p:txBody>
      </p:sp>
      <p:grpSp>
        <p:nvGrpSpPr>
          <p:cNvPr id="4" name="Group 3">
            <a:extLst>
              <a:ext uri="{FF2B5EF4-FFF2-40B4-BE49-F238E27FC236}">
                <a16:creationId xmlns:a16="http://schemas.microsoft.com/office/drawing/2014/main" id="{EB521FE2-01DF-DDE3-3802-5E41CBCF436F}"/>
              </a:ext>
            </a:extLst>
          </p:cNvPr>
          <p:cNvGrpSpPr/>
          <p:nvPr/>
        </p:nvGrpSpPr>
        <p:grpSpPr>
          <a:xfrm>
            <a:off x="1592871" y="923042"/>
            <a:ext cx="9006259" cy="5238046"/>
            <a:chOff x="469900" y="923042"/>
            <a:chExt cx="9006259" cy="5238046"/>
          </a:xfrm>
        </p:grpSpPr>
        <p:sp>
          <p:nvSpPr>
            <p:cNvPr id="55" name="Rektangel: afrundede hjørner 29">
              <a:extLst>
                <a:ext uri="{FF2B5EF4-FFF2-40B4-BE49-F238E27FC236}">
                  <a16:creationId xmlns:a16="http://schemas.microsoft.com/office/drawing/2014/main" id="{58C1D3E8-9668-6016-DC18-41057A1E02E8}"/>
                </a:ext>
              </a:extLst>
            </p:cNvPr>
            <p:cNvSpPr>
              <a:spLocks/>
            </p:cNvSpPr>
            <p:nvPr/>
          </p:nvSpPr>
          <p:spPr>
            <a:xfrm>
              <a:off x="2266790" y="942026"/>
              <a:ext cx="2356767" cy="5219062"/>
            </a:xfrm>
            <a:prstGeom prst="roundRect">
              <a:avLst>
                <a:gd name="adj" fmla="val 7225"/>
              </a:avLst>
            </a:prstGeom>
            <a:solidFill>
              <a:srgbClr val="1D712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3" name="Rektangel: afrundede hjørner 25">
              <a:extLst>
                <a:ext uri="{FF2B5EF4-FFF2-40B4-BE49-F238E27FC236}">
                  <a16:creationId xmlns:a16="http://schemas.microsoft.com/office/drawing/2014/main" id="{E89AA60F-68B9-53FD-D18B-DE39C2632D02}"/>
                </a:ext>
              </a:extLst>
            </p:cNvPr>
            <p:cNvSpPr>
              <a:spLocks/>
            </p:cNvSpPr>
            <p:nvPr/>
          </p:nvSpPr>
          <p:spPr>
            <a:xfrm>
              <a:off x="4693091" y="923042"/>
              <a:ext cx="2356767" cy="5219062"/>
            </a:xfrm>
            <a:prstGeom prst="roundRect">
              <a:avLst>
                <a:gd name="adj" fmla="val 7225"/>
              </a:avLst>
            </a:prstGeom>
            <a:solidFill>
              <a:srgbClr val="19A94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6" name="Rektangel: afrundede hjørner 26">
              <a:extLst>
                <a:ext uri="{FF2B5EF4-FFF2-40B4-BE49-F238E27FC236}">
                  <a16:creationId xmlns:a16="http://schemas.microsoft.com/office/drawing/2014/main" id="{4818F590-685D-75F7-22A3-9017E25A5EA6}"/>
                </a:ext>
              </a:extLst>
            </p:cNvPr>
            <p:cNvSpPr>
              <a:spLocks/>
            </p:cNvSpPr>
            <p:nvPr/>
          </p:nvSpPr>
          <p:spPr>
            <a:xfrm>
              <a:off x="7119392" y="923122"/>
              <a:ext cx="2356767" cy="5219431"/>
            </a:xfrm>
            <a:prstGeom prst="roundRect">
              <a:avLst>
                <a:gd name="adj" fmla="val 7225"/>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latin typeface="COOP"/>
              </a:endParaRPr>
            </a:p>
          </p:txBody>
        </p:sp>
        <p:pic>
          <p:nvPicPr>
            <p:cNvPr id="7" name="Picture 2">
              <a:extLst>
                <a:ext uri="{FF2B5EF4-FFF2-40B4-BE49-F238E27FC236}">
                  <a16:creationId xmlns:a16="http://schemas.microsoft.com/office/drawing/2014/main" id="{5974DF51-0CA9-F269-305B-427F63DF1A12}"/>
                </a:ext>
              </a:extLst>
            </p:cNvPr>
            <p:cNvPicPr>
              <a:picLocks noChangeAspect="1" noChangeArrowheads="1"/>
            </p:cNvPicPr>
            <p:nvPr/>
          </p:nvPicPr>
          <p:blipFill rotWithShape="1">
            <a:blip r:embed="rId6" cstate="screen">
              <a:clrChange>
                <a:clrFrom>
                  <a:srgbClr val="00AA46"/>
                </a:clrFrom>
                <a:clrTo>
                  <a:srgbClr val="00AA46">
                    <a:alpha val="0"/>
                  </a:srgbClr>
                </a:clrTo>
              </a:clrChange>
              <a:extLst>
                <a:ext uri="{28A0092B-C50C-407E-A947-70E740481C1C}">
                  <a14:useLocalDpi xmlns:a14="http://schemas.microsoft.com/office/drawing/2010/main"/>
                </a:ext>
              </a:extLst>
            </a:blip>
            <a:srcRect/>
            <a:stretch/>
          </p:blipFill>
          <p:spPr bwMode="auto">
            <a:xfrm>
              <a:off x="5386955" y="1085305"/>
              <a:ext cx="996414" cy="806048"/>
            </a:xfrm>
            <a:prstGeom prst="rect">
              <a:avLst/>
            </a:prstGeom>
            <a:noFill/>
          </p:spPr>
        </p:pic>
        <p:pic>
          <p:nvPicPr>
            <p:cNvPr id="8" name="Billede 28" descr="Et billede, der indeholder Font/skrifttype, tekst, skærmbillede, Grafik&#10;&#10;Automatisk genereret beskrivelse">
              <a:extLst>
                <a:ext uri="{FF2B5EF4-FFF2-40B4-BE49-F238E27FC236}">
                  <a16:creationId xmlns:a16="http://schemas.microsoft.com/office/drawing/2014/main" id="{E8D2B665-7318-2386-CFF4-2ECB5D5C514E}"/>
                </a:ext>
              </a:extLst>
            </p:cNvPr>
            <p:cNvPicPr>
              <a:picLocks noChangeAspect="1"/>
            </p:cNvPicPr>
            <p:nvPr/>
          </p:nvPicPr>
          <p:blipFill>
            <a:blip r:embed="rId7" cstate="screen">
              <a:clrChange>
                <a:clrFrom>
                  <a:srgbClr val="C31414"/>
                </a:clrFrom>
                <a:clrTo>
                  <a:srgbClr val="C31414">
                    <a:alpha val="0"/>
                  </a:srgbClr>
                </a:clrTo>
              </a:clrChange>
              <a:extLst>
                <a:ext uri="{28A0092B-C50C-407E-A947-70E740481C1C}">
                  <a14:useLocalDpi xmlns:a14="http://schemas.microsoft.com/office/drawing/2010/main"/>
                </a:ext>
              </a:extLst>
            </a:blip>
            <a:stretch>
              <a:fillRect/>
            </a:stretch>
          </p:blipFill>
          <p:spPr>
            <a:xfrm>
              <a:off x="7441586" y="1020599"/>
              <a:ext cx="1698718" cy="815544"/>
            </a:xfrm>
            <a:prstGeom prst="rect">
              <a:avLst/>
            </a:prstGeom>
          </p:spPr>
        </p:pic>
        <p:sp>
          <p:nvSpPr>
            <p:cNvPr id="18" name="TextBox 17">
              <a:extLst>
                <a:ext uri="{FF2B5EF4-FFF2-40B4-BE49-F238E27FC236}">
                  <a16:creationId xmlns:a16="http://schemas.microsoft.com/office/drawing/2014/main" id="{DE1CFAE4-ABC5-111E-A29C-91BE33B1FCF2}"/>
                </a:ext>
              </a:extLst>
            </p:cNvPr>
            <p:cNvSpPr txBox="1"/>
            <p:nvPr/>
          </p:nvSpPr>
          <p:spPr>
            <a:xfrm>
              <a:off x="469900" y="2703910"/>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Antal butikker</a:t>
              </a:r>
            </a:p>
          </p:txBody>
        </p:sp>
        <p:sp>
          <p:nvSpPr>
            <p:cNvPr id="19" name="TextBox 18">
              <a:extLst>
                <a:ext uri="{FF2B5EF4-FFF2-40B4-BE49-F238E27FC236}">
                  <a16:creationId xmlns:a16="http://schemas.microsoft.com/office/drawing/2014/main" id="{6AF47CCF-51D9-0D34-44B6-5D595E63F908}"/>
                </a:ext>
              </a:extLst>
            </p:cNvPr>
            <p:cNvSpPr txBox="1"/>
            <p:nvPr/>
          </p:nvSpPr>
          <p:spPr>
            <a:xfrm>
              <a:off x="469900" y="367210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Gennemsnitlig kurv</a:t>
              </a:r>
            </a:p>
          </p:txBody>
        </p:sp>
        <p:sp>
          <p:nvSpPr>
            <p:cNvPr id="20" name="TextBox 19">
              <a:extLst>
                <a:ext uri="{FF2B5EF4-FFF2-40B4-BE49-F238E27FC236}">
                  <a16:creationId xmlns:a16="http://schemas.microsoft.com/office/drawing/2014/main" id="{59406774-978D-E34C-BB29-3C719248ED78}"/>
                </a:ext>
              </a:extLst>
            </p:cNvPr>
            <p:cNvSpPr txBox="1"/>
            <p:nvPr/>
          </p:nvSpPr>
          <p:spPr>
            <a:xfrm>
              <a:off x="469900" y="415619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Kunder/ugen</a:t>
              </a:r>
            </a:p>
          </p:txBody>
        </p:sp>
        <p:sp>
          <p:nvSpPr>
            <p:cNvPr id="21" name="TextBox 20">
              <a:extLst>
                <a:ext uri="{FF2B5EF4-FFF2-40B4-BE49-F238E27FC236}">
                  <a16:creationId xmlns:a16="http://schemas.microsoft.com/office/drawing/2014/main" id="{E1DE1D28-B6C0-C963-4D57-F5AAE221F9C0}"/>
                </a:ext>
              </a:extLst>
            </p:cNvPr>
            <p:cNvSpPr txBox="1">
              <a:spLocks/>
            </p:cNvSpPr>
            <p:nvPr/>
          </p:nvSpPr>
          <p:spPr>
            <a:xfrm>
              <a:off x="469900" y="5124392"/>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Butiks-medarbejdere</a:t>
              </a:r>
            </a:p>
          </p:txBody>
        </p:sp>
        <p:sp>
          <p:nvSpPr>
            <p:cNvPr id="22" name="TextBox 21">
              <a:extLst>
                <a:ext uri="{FF2B5EF4-FFF2-40B4-BE49-F238E27FC236}">
                  <a16:creationId xmlns:a16="http://schemas.microsoft.com/office/drawing/2014/main" id="{3264F6A0-3CE6-A3C0-2BA6-BD0C6F376863}"/>
                </a:ext>
              </a:extLst>
            </p:cNvPr>
            <p:cNvSpPr txBox="1">
              <a:spLocks/>
            </p:cNvSpPr>
            <p:nvPr/>
          </p:nvSpPr>
          <p:spPr>
            <a:xfrm>
              <a:off x="469900" y="464029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Salgsavance</a:t>
              </a:r>
            </a:p>
          </p:txBody>
        </p:sp>
        <p:sp>
          <p:nvSpPr>
            <p:cNvPr id="24" name="TextBox 23">
              <a:extLst>
                <a:ext uri="{FF2B5EF4-FFF2-40B4-BE49-F238E27FC236}">
                  <a16:creationId xmlns:a16="http://schemas.microsoft.com/office/drawing/2014/main" id="{32F4E93B-9D40-3FD5-1EF4-9D7D79E1C3D4}"/>
                </a:ext>
              </a:extLst>
            </p:cNvPr>
            <p:cNvSpPr txBox="1"/>
            <p:nvPr/>
          </p:nvSpPr>
          <p:spPr>
            <a:xfrm>
              <a:off x="5086296"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68</a:t>
              </a:r>
            </a:p>
          </p:txBody>
        </p:sp>
        <p:sp>
          <p:nvSpPr>
            <p:cNvPr id="25" name="TextBox 24">
              <a:extLst>
                <a:ext uri="{FF2B5EF4-FFF2-40B4-BE49-F238E27FC236}">
                  <a16:creationId xmlns:a16="http://schemas.microsoft.com/office/drawing/2014/main" id="{79665AB5-E80D-1481-1578-FF47056E1F49}"/>
                </a:ext>
              </a:extLst>
            </p:cNvPr>
            <p:cNvSpPr txBox="1"/>
            <p:nvPr/>
          </p:nvSpPr>
          <p:spPr>
            <a:xfrm>
              <a:off x="7515061"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86</a:t>
              </a:r>
            </a:p>
          </p:txBody>
        </p:sp>
        <p:sp>
          <p:nvSpPr>
            <p:cNvPr id="26" name="TextBox 25">
              <a:extLst>
                <a:ext uri="{FF2B5EF4-FFF2-40B4-BE49-F238E27FC236}">
                  <a16:creationId xmlns:a16="http://schemas.microsoft.com/office/drawing/2014/main" id="{303EAE06-73A0-9C35-9BAE-FEA47A8C1560}"/>
                </a:ext>
              </a:extLst>
            </p:cNvPr>
            <p:cNvSpPr txBox="1"/>
            <p:nvPr/>
          </p:nvSpPr>
          <p:spPr>
            <a:xfrm>
              <a:off x="5086296"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87DKK</a:t>
              </a:r>
            </a:p>
          </p:txBody>
        </p:sp>
        <p:sp>
          <p:nvSpPr>
            <p:cNvPr id="27" name="TextBox 26">
              <a:extLst>
                <a:ext uri="{FF2B5EF4-FFF2-40B4-BE49-F238E27FC236}">
                  <a16:creationId xmlns:a16="http://schemas.microsoft.com/office/drawing/2014/main" id="{96D812D6-7B1F-95D2-B852-2BD5FA6D17F0}"/>
                </a:ext>
              </a:extLst>
            </p:cNvPr>
            <p:cNvSpPr txBox="1"/>
            <p:nvPr/>
          </p:nvSpPr>
          <p:spPr>
            <a:xfrm>
              <a:off x="7515061"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90DKK</a:t>
              </a:r>
            </a:p>
          </p:txBody>
        </p:sp>
        <p:sp>
          <p:nvSpPr>
            <p:cNvPr id="28" name="TextBox 27">
              <a:extLst>
                <a:ext uri="{FF2B5EF4-FFF2-40B4-BE49-F238E27FC236}">
                  <a16:creationId xmlns:a16="http://schemas.microsoft.com/office/drawing/2014/main" id="{86FC4456-D214-26D0-A33F-981726757336}"/>
                </a:ext>
              </a:extLst>
            </p:cNvPr>
            <p:cNvSpPr txBox="1"/>
            <p:nvPr/>
          </p:nvSpPr>
          <p:spPr>
            <a:xfrm>
              <a:off x="5086296"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7mio.</a:t>
              </a:r>
            </a:p>
          </p:txBody>
        </p:sp>
        <p:sp>
          <p:nvSpPr>
            <p:cNvPr id="29" name="TextBox 28">
              <a:extLst>
                <a:ext uri="{FF2B5EF4-FFF2-40B4-BE49-F238E27FC236}">
                  <a16:creationId xmlns:a16="http://schemas.microsoft.com/office/drawing/2014/main" id="{5C9E8E0F-83F5-C959-F7D1-1CACA1932162}"/>
                </a:ext>
              </a:extLst>
            </p:cNvPr>
            <p:cNvSpPr txBox="1"/>
            <p:nvPr/>
          </p:nvSpPr>
          <p:spPr>
            <a:xfrm>
              <a:off x="7515061"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0mio.</a:t>
              </a:r>
            </a:p>
          </p:txBody>
        </p:sp>
        <p:sp>
          <p:nvSpPr>
            <p:cNvPr id="30" name="TextBox 29">
              <a:extLst>
                <a:ext uri="{FF2B5EF4-FFF2-40B4-BE49-F238E27FC236}">
                  <a16:creationId xmlns:a16="http://schemas.microsoft.com/office/drawing/2014/main" id="{5A28E13E-D4D2-DE8E-DE16-A39BDB87BC39}"/>
                </a:ext>
              </a:extLst>
            </p:cNvPr>
            <p:cNvSpPr txBox="1">
              <a:spLocks/>
            </p:cNvSpPr>
            <p:nvPr/>
          </p:nvSpPr>
          <p:spPr>
            <a:xfrm>
              <a:off x="5086296"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9.403</a:t>
              </a:r>
            </a:p>
          </p:txBody>
        </p:sp>
        <p:sp>
          <p:nvSpPr>
            <p:cNvPr id="31" name="TextBox 30">
              <a:extLst>
                <a:ext uri="{FF2B5EF4-FFF2-40B4-BE49-F238E27FC236}">
                  <a16:creationId xmlns:a16="http://schemas.microsoft.com/office/drawing/2014/main" id="{76B9D88F-0394-5C32-02F2-2FF82B014EC7}"/>
                </a:ext>
              </a:extLst>
            </p:cNvPr>
            <p:cNvSpPr txBox="1">
              <a:spLocks/>
            </p:cNvSpPr>
            <p:nvPr/>
          </p:nvSpPr>
          <p:spPr>
            <a:xfrm>
              <a:off x="7515061"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5.844</a:t>
              </a:r>
            </a:p>
          </p:txBody>
        </p:sp>
        <p:sp>
          <p:nvSpPr>
            <p:cNvPr id="32" name="TextBox 31">
              <a:extLst>
                <a:ext uri="{FF2B5EF4-FFF2-40B4-BE49-F238E27FC236}">
                  <a16:creationId xmlns:a16="http://schemas.microsoft.com/office/drawing/2014/main" id="{FB420708-16EF-DC23-1F2A-08FE9B4AD05C}"/>
                </a:ext>
              </a:extLst>
            </p:cNvPr>
            <p:cNvSpPr txBox="1">
              <a:spLocks/>
            </p:cNvSpPr>
            <p:nvPr/>
          </p:nvSpPr>
          <p:spPr>
            <a:xfrm>
              <a:off x="5086296"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4,6%</a:t>
              </a:r>
            </a:p>
          </p:txBody>
        </p:sp>
        <p:sp>
          <p:nvSpPr>
            <p:cNvPr id="33" name="TextBox 32">
              <a:extLst>
                <a:ext uri="{FF2B5EF4-FFF2-40B4-BE49-F238E27FC236}">
                  <a16:creationId xmlns:a16="http://schemas.microsoft.com/office/drawing/2014/main" id="{004F36ED-7F76-6370-CDD5-95D95507EA7F}"/>
                </a:ext>
              </a:extLst>
            </p:cNvPr>
            <p:cNvSpPr txBox="1">
              <a:spLocks/>
            </p:cNvSpPr>
            <p:nvPr/>
          </p:nvSpPr>
          <p:spPr>
            <a:xfrm>
              <a:off x="7515061"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0,9%</a:t>
              </a:r>
            </a:p>
          </p:txBody>
        </p:sp>
        <p:sp>
          <p:nvSpPr>
            <p:cNvPr id="35" name="TextBox 34">
              <a:extLst>
                <a:ext uri="{FF2B5EF4-FFF2-40B4-BE49-F238E27FC236}">
                  <a16:creationId xmlns:a16="http://schemas.microsoft.com/office/drawing/2014/main" id="{9DAC846E-8D7C-8FEB-826C-1920DA35C7B3}"/>
                </a:ext>
              </a:extLst>
            </p:cNvPr>
            <p:cNvSpPr txBox="1"/>
            <p:nvPr/>
          </p:nvSpPr>
          <p:spPr>
            <a:xfrm>
              <a:off x="2646308"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06</a:t>
              </a:r>
            </a:p>
          </p:txBody>
        </p:sp>
        <p:sp>
          <p:nvSpPr>
            <p:cNvPr id="37" name="TextBox 36">
              <a:extLst>
                <a:ext uri="{FF2B5EF4-FFF2-40B4-BE49-F238E27FC236}">
                  <a16:creationId xmlns:a16="http://schemas.microsoft.com/office/drawing/2014/main" id="{9D03A61C-31C3-3231-386E-FD2A997683CC}"/>
                </a:ext>
              </a:extLst>
            </p:cNvPr>
            <p:cNvSpPr txBox="1"/>
            <p:nvPr/>
          </p:nvSpPr>
          <p:spPr>
            <a:xfrm>
              <a:off x="2646308"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58DKK</a:t>
              </a:r>
            </a:p>
          </p:txBody>
        </p:sp>
        <p:sp>
          <p:nvSpPr>
            <p:cNvPr id="39" name="TextBox 38">
              <a:extLst>
                <a:ext uri="{FF2B5EF4-FFF2-40B4-BE49-F238E27FC236}">
                  <a16:creationId xmlns:a16="http://schemas.microsoft.com/office/drawing/2014/main" id="{0ADA1E32-5BDD-C38E-7FC3-D31A1FA0C93C}"/>
                </a:ext>
              </a:extLst>
            </p:cNvPr>
            <p:cNvSpPr txBox="1"/>
            <p:nvPr/>
          </p:nvSpPr>
          <p:spPr>
            <a:xfrm>
              <a:off x="2646308"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5mio.</a:t>
              </a:r>
            </a:p>
          </p:txBody>
        </p:sp>
        <p:sp>
          <p:nvSpPr>
            <p:cNvPr id="41" name="TextBox 40">
              <a:extLst>
                <a:ext uri="{FF2B5EF4-FFF2-40B4-BE49-F238E27FC236}">
                  <a16:creationId xmlns:a16="http://schemas.microsoft.com/office/drawing/2014/main" id="{4DEA3C26-7195-E66E-7B8E-0040561BCFAD}"/>
                </a:ext>
              </a:extLst>
            </p:cNvPr>
            <p:cNvSpPr txBox="1">
              <a:spLocks/>
            </p:cNvSpPr>
            <p:nvPr/>
          </p:nvSpPr>
          <p:spPr>
            <a:xfrm>
              <a:off x="2646308"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9.394</a:t>
              </a:r>
            </a:p>
          </p:txBody>
        </p:sp>
        <p:sp>
          <p:nvSpPr>
            <p:cNvPr id="43" name="TextBox 42">
              <a:extLst>
                <a:ext uri="{FF2B5EF4-FFF2-40B4-BE49-F238E27FC236}">
                  <a16:creationId xmlns:a16="http://schemas.microsoft.com/office/drawing/2014/main" id="{86AE70C9-49E0-5963-1D71-992E0FF68563}"/>
                </a:ext>
              </a:extLst>
            </p:cNvPr>
            <p:cNvSpPr txBox="1">
              <a:spLocks/>
            </p:cNvSpPr>
            <p:nvPr/>
          </p:nvSpPr>
          <p:spPr>
            <a:xfrm>
              <a:off x="2646308"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1,4%</a:t>
              </a:r>
            </a:p>
          </p:txBody>
        </p:sp>
        <p:sp>
          <p:nvSpPr>
            <p:cNvPr id="44" name="TextBox 43">
              <a:extLst>
                <a:ext uri="{FF2B5EF4-FFF2-40B4-BE49-F238E27FC236}">
                  <a16:creationId xmlns:a16="http://schemas.microsoft.com/office/drawing/2014/main" id="{DE353B0B-F893-238F-4AE4-4D50F970CA30}"/>
                </a:ext>
              </a:extLst>
            </p:cNvPr>
            <p:cNvSpPr txBox="1"/>
            <p:nvPr/>
          </p:nvSpPr>
          <p:spPr>
            <a:xfrm>
              <a:off x="469900" y="2219813"/>
              <a:ext cx="172735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Detailomsætning</a:t>
              </a:r>
            </a:p>
          </p:txBody>
        </p:sp>
        <p:sp>
          <p:nvSpPr>
            <p:cNvPr id="45" name="TextBox 44">
              <a:extLst>
                <a:ext uri="{FF2B5EF4-FFF2-40B4-BE49-F238E27FC236}">
                  <a16:creationId xmlns:a16="http://schemas.microsoft.com/office/drawing/2014/main" id="{85DA907E-6D76-1497-4227-56713623EC7E}"/>
                </a:ext>
              </a:extLst>
            </p:cNvPr>
            <p:cNvSpPr txBox="1"/>
            <p:nvPr/>
          </p:nvSpPr>
          <p:spPr>
            <a:xfrm>
              <a:off x="5086296"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8.078mDKK</a:t>
              </a:r>
            </a:p>
          </p:txBody>
        </p:sp>
        <p:sp>
          <p:nvSpPr>
            <p:cNvPr id="46" name="TextBox 45">
              <a:extLst>
                <a:ext uri="{FF2B5EF4-FFF2-40B4-BE49-F238E27FC236}">
                  <a16:creationId xmlns:a16="http://schemas.microsoft.com/office/drawing/2014/main" id="{03D8F9A0-12A5-44EE-8AF9-364B40884B7C}"/>
                </a:ext>
              </a:extLst>
            </p:cNvPr>
            <p:cNvSpPr txBox="1"/>
            <p:nvPr/>
          </p:nvSpPr>
          <p:spPr>
            <a:xfrm>
              <a:off x="7515061"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4.775mDKK</a:t>
              </a:r>
            </a:p>
          </p:txBody>
        </p:sp>
        <p:sp>
          <p:nvSpPr>
            <p:cNvPr id="48" name="TextBox 47">
              <a:extLst>
                <a:ext uri="{FF2B5EF4-FFF2-40B4-BE49-F238E27FC236}">
                  <a16:creationId xmlns:a16="http://schemas.microsoft.com/office/drawing/2014/main" id="{B23D8A5D-76EF-5CEA-6803-37C4833386F7}"/>
                </a:ext>
              </a:extLst>
            </p:cNvPr>
            <p:cNvSpPr txBox="1"/>
            <p:nvPr/>
          </p:nvSpPr>
          <p:spPr>
            <a:xfrm>
              <a:off x="2646308"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0.441mDKK</a:t>
              </a:r>
            </a:p>
          </p:txBody>
        </p:sp>
        <p:grpSp>
          <p:nvGrpSpPr>
            <p:cNvPr id="56" name="Group 55">
              <a:extLst>
                <a:ext uri="{FF2B5EF4-FFF2-40B4-BE49-F238E27FC236}">
                  <a16:creationId xmlns:a16="http://schemas.microsoft.com/office/drawing/2014/main" id="{27E544F5-B474-7C26-C237-994EBFB50100}"/>
                </a:ext>
              </a:extLst>
            </p:cNvPr>
            <p:cNvGrpSpPr/>
            <p:nvPr/>
          </p:nvGrpSpPr>
          <p:grpSpPr>
            <a:xfrm>
              <a:off x="2473943" y="1609493"/>
              <a:ext cx="877731" cy="435033"/>
              <a:chOff x="1139586" y="3530976"/>
              <a:chExt cx="1131692" cy="560904"/>
            </a:xfrm>
          </p:grpSpPr>
          <p:pic>
            <p:nvPicPr>
              <p:cNvPr id="57" name="Picture 4" descr="SB_Butiksnavn_RGB">
                <a:extLst>
                  <a:ext uri="{FF2B5EF4-FFF2-40B4-BE49-F238E27FC236}">
                    <a16:creationId xmlns:a16="http://schemas.microsoft.com/office/drawing/2014/main" id="{83C6EABF-70A2-D4AB-7A72-B3C6452950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Rounded Corners 57">
                <a:extLst>
                  <a:ext uri="{FF2B5EF4-FFF2-40B4-BE49-F238E27FC236}">
                    <a16:creationId xmlns:a16="http://schemas.microsoft.com/office/drawing/2014/main" id="{1AEC2344-3B05-BFA6-82B4-2896C4517619}"/>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59" name="Group 58">
              <a:extLst>
                <a:ext uri="{FF2B5EF4-FFF2-40B4-BE49-F238E27FC236}">
                  <a16:creationId xmlns:a16="http://schemas.microsoft.com/office/drawing/2014/main" id="{82D9F469-8BF7-FD19-DB1F-5A617E164702}"/>
                </a:ext>
              </a:extLst>
            </p:cNvPr>
            <p:cNvGrpSpPr/>
            <p:nvPr/>
          </p:nvGrpSpPr>
          <p:grpSpPr>
            <a:xfrm>
              <a:off x="3376796" y="1600160"/>
              <a:ext cx="877731" cy="435033"/>
              <a:chOff x="2303670" y="3518942"/>
              <a:chExt cx="1131692" cy="560904"/>
            </a:xfrm>
          </p:grpSpPr>
          <p:pic>
            <p:nvPicPr>
              <p:cNvPr id="60" name="Picture 2" descr="KV_Butiksnavn_RGB">
                <a:extLst>
                  <a:ext uri="{FF2B5EF4-FFF2-40B4-BE49-F238E27FC236}">
                    <a16:creationId xmlns:a16="http://schemas.microsoft.com/office/drawing/2014/main" id="{0DC694E6-5BD3-4959-C16B-100ADCAA65C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60">
                <a:extLst>
                  <a:ext uri="{FF2B5EF4-FFF2-40B4-BE49-F238E27FC236}">
                    <a16:creationId xmlns:a16="http://schemas.microsoft.com/office/drawing/2014/main" id="{23E64840-54FD-FD03-CD07-D295531097E2}"/>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pic>
          <p:nvPicPr>
            <p:cNvPr id="62" name="Picture 6" descr="COOP_LOGO_NEG_Typemark_RGB">
              <a:extLst>
                <a:ext uri="{FF2B5EF4-FFF2-40B4-BE49-F238E27FC236}">
                  <a16:creationId xmlns:a16="http://schemas.microsoft.com/office/drawing/2014/main" id="{8E28075B-C096-6C0B-BABD-E1A68873A33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635819" y="1092956"/>
              <a:ext cx="1618708" cy="459390"/>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36F987F1-8682-5110-4194-74C4FBBA1FF9}"/>
                </a:ext>
              </a:extLst>
            </p:cNvPr>
            <p:cNvSpPr txBox="1"/>
            <p:nvPr/>
          </p:nvSpPr>
          <p:spPr>
            <a:xfrm>
              <a:off x="469900" y="3188006"/>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Markedsandel </a:t>
              </a:r>
              <a:r>
                <a:rPr lang="da-DK" sz="1400" i="1">
                  <a:solidFill>
                    <a:schemeClr val="tx1"/>
                  </a:solidFill>
                </a:rPr>
                <a:t>(U48)</a:t>
              </a:r>
            </a:p>
          </p:txBody>
        </p:sp>
        <p:sp>
          <p:nvSpPr>
            <p:cNvPr id="76" name="TextBox 75">
              <a:extLst>
                <a:ext uri="{FF2B5EF4-FFF2-40B4-BE49-F238E27FC236}">
                  <a16:creationId xmlns:a16="http://schemas.microsoft.com/office/drawing/2014/main" id="{DEFF2896-3583-7264-61A3-64875BC69F18}"/>
                </a:ext>
              </a:extLst>
            </p:cNvPr>
            <p:cNvSpPr txBox="1"/>
            <p:nvPr/>
          </p:nvSpPr>
          <p:spPr>
            <a:xfrm>
              <a:off x="5086296"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7,8%</a:t>
              </a:r>
            </a:p>
          </p:txBody>
        </p:sp>
        <p:sp>
          <p:nvSpPr>
            <p:cNvPr id="77" name="TextBox 76">
              <a:extLst>
                <a:ext uri="{FF2B5EF4-FFF2-40B4-BE49-F238E27FC236}">
                  <a16:creationId xmlns:a16="http://schemas.microsoft.com/office/drawing/2014/main" id="{D9A6567A-9720-7484-8BB9-01CD548C0B67}"/>
                </a:ext>
              </a:extLst>
            </p:cNvPr>
            <p:cNvSpPr txBox="1"/>
            <p:nvPr/>
          </p:nvSpPr>
          <p:spPr>
            <a:xfrm>
              <a:off x="7515061"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8%</a:t>
              </a:r>
            </a:p>
          </p:txBody>
        </p:sp>
        <p:sp>
          <p:nvSpPr>
            <p:cNvPr id="78" name="TextBox 77">
              <a:extLst>
                <a:ext uri="{FF2B5EF4-FFF2-40B4-BE49-F238E27FC236}">
                  <a16:creationId xmlns:a16="http://schemas.microsoft.com/office/drawing/2014/main" id="{2ED60AFC-C820-629A-F3E5-9FC41250794A}"/>
                </a:ext>
              </a:extLst>
            </p:cNvPr>
            <p:cNvSpPr txBox="1"/>
            <p:nvPr/>
          </p:nvSpPr>
          <p:spPr>
            <a:xfrm>
              <a:off x="2646308"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6,6%</a:t>
              </a:r>
            </a:p>
          </p:txBody>
        </p:sp>
      </p:grpSp>
      <p:cxnSp>
        <p:nvCxnSpPr>
          <p:cNvPr id="87" name="Straight Connector 86">
            <a:extLst>
              <a:ext uri="{FF2B5EF4-FFF2-40B4-BE49-F238E27FC236}">
                <a16:creationId xmlns:a16="http://schemas.microsoft.com/office/drawing/2014/main" id="{B988795D-4B75-635A-CF8A-4AAF580A3F85}"/>
              </a:ext>
            </a:extLst>
          </p:cNvPr>
          <p:cNvCxnSpPr/>
          <p:nvPr/>
        </p:nvCxnSpPr>
        <p:spPr>
          <a:xfrm>
            <a:off x="469900" y="2646528"/>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A18DD56-FC75-6849-7931-47DE1659F086}"/>
              </a:ext>
            </a:extLst>
          </p:cNvPr>
          <p:cNvCxnSpPr/>
          <p:nvPr/>
        </p:nvCxnSpPr>
        <p:spPr>
          <a:xfrm>
            <a:off x="469900" y="3130624"/>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FA875D9-87B9-7642-76D5-992D00D123DF}"/>
              </a:ext>
            </a:extLst>
          </p:cNvPr>
          <p:cNvCxnSpPr/>
          <p:nvPr/>
        </p:nvCxnSpPr>
        <p:spPr>
          <a:xfrm>
            <a:off x="469900" y="3614721"/>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EDB78B1-0DB1-D99B-5860-A7FABEB3ED2F}"/>
              </a:ext>
            </a:extLst>
          </p:cNvPr>
          <p:cNvCxnSpPr/>
          <p:nvPr/>
        </p:nvCxnSpPr>
        <p:spPr>
          <a:xfrm>
            <a:off x="469900" y="4098817"/>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E6ADAD0-F901-93B5-AAB6-47C7F53F18E5}"/>
              </a:ext>
            </a:extLst>
          </p:cNvPr>
          <p:cNvCxnSpPr/>
          <p:nvPr/>
        </p:nvCxnSpPr>
        <p:spPr>
          <a:xfrm>
            <a:off x="469900" y="4582913"/>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25533E4-2B84-3CC0-BC8B-E0219859CBF7}"/>
              </a:ext>
            </a:extLst>
          </p:cNvPr>
          <p:cNvCxnSpPr/>
          <p:nvPr/>
        </p:nvCxnSpPr>
        <p:spPr>
          <a:xfrm>
            <a:off x="469900" y="5067010"/>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BBAE582-D4F5-7B46-6F3C-06D9C24E652A}"/>
              </a:ext>
            </a:extLst>
          </p:cNvPr>
          <p:cNvCxnSpPr/>
          <p:nvPr/>
        </p:nvCxnSpPr>
        <p:spPr>
          <a:xfrm>
            <a:off x="469900" y="5551106"/>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ee4pFootnotes">
            <a:extLst>
              <a:ext uri="{FF2B5EF4-FFF2-40B4-BE49-F238E27FC236}">
                <a16:creationId xmlns:a16="http://schemas.microsoft.com/office/drawing/2014/main" id="{59A5E5B8-ACBF-FA3A-6C55-7526E95A1206}"/>
              </a:ext>
            </a:extLst>
          </p:cNvPr>
          <p:cNvSpPr>
            <a:spLocks noChangeArrowheads="1"/>
          </p:cNvSpPr>
          <p:nvPr/>
        </p:nvSpPr>
        <p:spPr bwMode="auto">
          <a:xfrm>
            <a:off x="469900" y="6376798"/>
            <a:ext cx="10800000" cy="3323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a-DK" sz="800">
                <a:solidFill>
                  <a:schemeClr val="accent5"/>
                </a:solidFill>
              </a:rPr>
              <a:t>Note: Total omsætning for alle aktive butikker i 2022 inkl. </a:t>
            </a:r>
            <a:r>
              <a:rPr lang="da-DK" sz="800" err="1">
                <a:solidFill>
                  <a:schemeClr val="accent5"/>
                </a:solidFill>
              </a:rPr>
              <a:t>BrF</a:t>
            </a:r>
            <a:r>
              <a:rPr lang="da-DK" sz="800">
                <a:solidFill>
                  <a:schemeClr val="accent5"/>
                </a:solidFill>
              </a:rPr>
              <a:t> (både ÅBÅ, Nye og Luk); </a:t>
            </a:r>
            <a:br>
              <a:rPr lang="da-DK" sz="800">
                <a:solidFill>
                  <a:schemeClr val="accent5"/>
                </a:solidFill>
              </a:rPr>
            </a:br>
            <a:r>
              <a:rPr lang="da-DK" sz="800">
                <a:solidFill>
                  <a:schemeClr val="accent5"/>
                </a:solidFill>
              </a:rPr>
              <a:t>Markedsandel inkluderer </a:t>
            </a:r>
            <a:r>
              <a:rPr lang="da-DK" sz="800" err="1">
                <a:solidFill>
                  <a:schemeClr val="accent5"/>
                </a:solidFill>
              </a:rPr>
              <a:t>BrF</a:t>
            </a:r>
            <a:r>
              <a:rPr lang="da-DK" sz="800">
                <a:solidFill>
                  <a:schemeClr val="accent5"/>
                </a:solidFill>
              </a:rPr>
              <a:t> og ekskl. </a:t>
            </a:r>
            <a:r>
              <a:rPr lang="da-DK" sz="800" err="1">
                <a:solidFill>
                  <a:schemeClr val="accent5"/>
                </a:solidFill>
              </a:rPr>
              <a:t>Lidl</a:t>
            </a:r>
            <a:r>
              <a:rPr lang="da-DK" sz="800">
                <a:solidFill>
                  <a:schemeClr val="accent5"/>
                </a:solidFill>
              </a:rPr>
              <a:t>; Antal butikker inkl. </a:t>
            </a:r>
            <a:r>
              <a:rPr lang="da-DK" sz="800" err="1">
                <a:solidFill>
                  <a:schemeClr val="accent5"/>
                </a:solidFill>
              </a:rPr>
              <a:t>BrF</a:t>
            </a:r>
            <a:r>
              <a:rPr lang="da-DK" sz="800">
                <a:solidFill>
                  <a:schemeClr val="accent5"/>
                </a:solidFill>
              </a:rPr>
              <a:t> per oktober 2023; </a:t>
            </a:r>
            <a:br>
              <a:rPr lang="da-DK" sz="800">
                <a:solidFill>
                  <a:schemeClr val="accent5"/>
                </a:solidFill>
              </a:rPr>
            </a:br>
            <a:r>
              <a:rPr lang="da-DK" sz="800">
                <a:solidFill>
                  <a:schemeClr val="accent5"/>
                </a:solidFill>
              </a:rPr>
              <a:t>Kunder/ugen for 2022; Antal medarbejdere per Q4 2023</a:t>
            </a:r>
          </a:p>
        </p:txBody>
      </p:sp>
    </p:spTree>
    <p:extLst>
      <p:ext uri="{BB962C8B-B14F-4D97-AF65-F5344CB8AC3E}">
        <p14:creationId xmlns:p14="http://schemas.microsoft.com/office/powerpoint/2010/main" val="140446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483280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CC9F6838-ABBB-484A-A1AD-BADB58645BFD}"/>
              </a:ext>
            </a:extLst>
          </p:cNvPr>
          <p:cNvSpPr>
            <a:spLocks noGrp="1"/>
          </p:cNvSpPr>
          <p:nvPr>
            <p:ph type="title"/>
          </p:nvPr>
        </p:nvSpPr>
        <p:spPr/>
        <p:txBody>
          <a:bodyPr/>
          <a:lstStyle/>
          <a:p>
            <a:endParaRPr lang="da-DK"/>
          </a:p>
        </p:txBody>
      </p:sp>
      <p:pic>
        <p:nvPicPr>
          <p:cNvPr id="100354" name="Picture 2" descr="Irma gør black friday til &quot;Friday Donation&quot; - RetailNews">
            <a:extLst>
              <a:ext uri="{FF2B5EF4-FFF2-40B4-BE49-F238E27FC236}">
                <a16:creationId xmlns:a16="http://schemas.microsoft.com/office/drawing/2014/main" id="{E9587615-1F94-46DF-B094-D18A24C09486}"/>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ktangel 1">
            <a:extLst>
              <a:ext uri="{FF2B5EF4-FFF2-40B4-BE49-F238E27FC236}">
                <a16:creationId xmlns:a16="http://schemas.microsoft.com/office/drawing/2014/main" id="{A926F886-7EE7-4401-95EC-D3615C024DD8}"/>
              </a:ext>
            </a:extLst>
          </p:cNvPr>
          <p:cNvSpPr/>
          <p:nvPr/>
        </p:nvSpPr>
        <p:spPr>
          <a:xfrm>
            <a:off x="3280229" y="751114"/>
            <a:ext cx="8911769" cy="5558972"/>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ekstfelt 2">
            <a:extLst>
              <a:ext uri="{FF2B5EF4-FFF2-40B4-BE49-F238E27FC236}">
                <a16:creationId xmlns:a16="http://schemas.microsoft.com/office/drawing/2014/main" id="{0880C741-6053-40D8-9DD8-A9AE205F9893}"/>
              </a:ext>
            </a:extLst>
          </p:cNvPr>
          <p:cNvSpPr txBox="1"/>
          <p:nvPr/>
        </p:nvSpPr>
        <p:spPr>
          <a:xfrm>
            <a:off x="3698797" y="1341878"/>
            <a:ext cx="7870505" cy="984885"/>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dirty="0">
                <a:ln>
                  <a:noFill/>
                </a:ln>
                <a:solidFill>
                  <a:srgbClr val="C31414"/>
                </a:solidFill>
                <a:effectLst/>
                <a:uLnTx/>
                <a:uFillTx/>
                <a:latin typeface="COOP"/>
              </a:rPr>
              <a:t>Vi er næsten </a:t>
            </a:r>
            <a:r>
              <a:rPr lang="da-DK" sz="3200" b="1" dirty="0">
                <a:solidFill>
                  <a:srgbClr val="C31414"/>
                </a:solidFill>
                <a:latin typeface="COOP"/>
              </a:rPr>
              <a:t>færdig</a:t>
            </a:r>
            <a:r>
              <a:rPr kumimoji="0" lang="da-DK" sz="3200" b="1" i="0" u="none" strike="noStrike" kern="1200" cap="none" spc="0" normalizeH="0" baseline="0" noProof="0" dirty="0">
                <a:ln>
                  <a:noFill/>
                </a:ln>
                <a:solidFill>
                  <a:srgbClr val="C31414"/>
                </a:solidFill>
                <a:effectLst/>
                <a:uLnTx/>
                <a:uFillTx/>
                <a:latin typeface="COOP"/>
              </a:rPr>
              <a:t> med Irma konverteringerne</a:t>
            </a:r>
          </a:p>
        </p:txBody>
      </p:sp>
      <p:pic>
        <p:nvPicPr>
          <p:cNvPr id="40" name="Picture 2">
            <a:extLst>
              <a:ext uri="{FF2B5EF4-FFF2-40B4-BE49-F238E27FC236}">
                <a16:creationId xmlns:a16="http://schemas.microsoft.com/office/drawing/2014/main" id="{3C40ADC2-3C4E-40A5-8571-203355B3E9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1361896" y="5012089"/>
            <a:ext cx="585557" cy="1242787"/>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uppe 38">
            <a:extLst>
              <a:ext uri="{FF2B5EF4-FFF2-40B4-BE49-F238E27FC236}">
                <a16:creationId xmlns:a16="http://schemas.microsoft.com/office/drawing/2014/main" id="{E9396BE9-3AE6-41DD-A717-C567DCC4E0C4}"/>
              </a:ext>
            </a:extLst>
          </p:cNvPr>
          <p:cNvGrpSpPr/>
          <p:nvPr/>
        </p:nvGrpSpPr>
        <p:grpSpPr>
          <a:xfrm>
            <a:off x="3642986" y="2519263"/>
            <a:ext cx="7926316" cy="2705880"/>
            <a:chOff x="3642986" y="2519263"/>
            <a:chExt cx="7926316" cy="2705880"/>
          </a:xfrm>
        </p:grpSpPr>
        <p:grpSp>
          <p:nvGrpSpPr>
            <p:cNvPr id="8" name="Gruppe 7">
              <a:extLst>
                <a:ext uri="{FF2B5EF4-FFF2-40B4-BE49-F238E27FC236}">
                  <a16:creationId xmlns:a16="http://schemas.microsoft.com/office/drawing/2014/main" id="{4C9BDA6D-21DB-47C3-9F5F-49AB5C44234D}"/>
                </a:ext>
              </a:extLst>
            </p:cNvPr>
            <p:cNvGrpSpPr/>
            <p:nvPr/>
          </p:nvGrpSpPr>
          <p:grpSpPr>
            <a:xfrm>
              <a:off x="3642986" y="2519263"/>
              <a:ext cx="1683757" cy="2705880"/>
              <a:chOff x="3642986" y="2519263"/>
              <a:chExt cx="1683757" cy="2705880"/>
            </a:xfrm>
          </p:grpSpPr>
          <p:pic>
            <p:nvPicPr>
              <p:cNvPr id="9" name="Graphic 67">
                <a:extLst>
                  <a:ext uri="{FF2B5EF4-FFF2-40B4-BE49-F238E27FC236}">
                    <a16:creationId xmlns:a16="http://schemas.microsoft.com/office/drawing/2014/main" id="{033D4047-DB35-4147-A637-A47B5556EDD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2063" y="2952910"/>
                <a:ext cx="1308635" cy="375884"/>
              </a:xfrm>
              <a:prstGeom prst="rect">
                <a:avLst/>
              </a:prstGeom>
            </p:spPr>
          </p:pic>
          <p:grpSp>
            <p:nvGrpSpPr>
              <p:cNvPr id="10" name="Gruppe 9">
                <a:extLst>
                  <a:ext uri="{FF2B5EF4-FFF2-40B4-BE49-F238E27FC236}">
                    <a16:creationId xmlns:a16="http://schemas.microsoft.com/office/drawing/2014/main" id="{E57F9042-DC55-4820-B7D2-969C5B632152}"/>
                  </a:ext>
                </a:extLst>
              </p:cNvPr>
              <p:cNvGrpSpPr/>
              <p:nvPr/>
            </p:nvGrpSpPr>
            <p:grpSpPr>
              <a:xfrm>
                <a:off x="3984049" y="3552940"/>
                <a:ext cx="964665" cy="1517480"/>
                <a:chOff x="6646902" y="1315804"/>
                <a:chExt cx="601817" cy="946698"/>
              </a:xfrm>
            </p:grpSpPr>
            <p:pic>
              <p:nvPicPr>
                <p:cNvPr id="11" name="Grafik 10" descr="Butik kontur">
                  <a:extLst>
                    <a:ext uri="{FF2B5EF4-FFF2-40B4-BE49-F238E27FC236}">
                      <a16:creationId xmlns:a16="http://schemas.microsoft.com/office/drawing/2014/main" id="{3342AF7F-D90E-4EE0-9A67-F5860288D78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12" name="Rektangel 11">
                  <a:extLst>
                    <a:ext uri="{FF2B5EF4-FFF2-40B4-BE49-F238E27FC236}">
                      <a16:creationId xmlns:a16="http://schemas.microsoft.com/office/drawing/2014/main" id="{9D79A158-58D2-49BA-A916-A54B04B5DDEE}"/>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9</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6" name="Rektangel 5">
                <a:extLst>
                  <a:ext uri="{FF2B5EF4-FFF2-40B4-BE49-F238E27FC236}">
                    <a16:creationId xmlns:a16="http://schemas.microsoft.com/office/drawing/2014/main" id="{DFA430B5-53EF-455F-A196-80549809615C}"/>
                  </a:ext>
                </a:extLst>
              </p:cNvPr>
              <p:cNvSpPr/>
              <p:nvPr/>
            </p:nvSpPr>
            <p:spPr>
              <a:xfrm>
                <a:off x="3642986"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grpSp>
        <p:grpSp>
          <p:nvGrpSpPr>
            <p:cNvPr id="36" name="Gruppe 35">
              <a:extLst>
                <a:ext uri="{FF2B5EF4-FFF2-40B4-BE49-F238E27FC236}">
                  <a16:creationId xmlns:a16="http://schemas.microsoft.com/office/drawing/2014/main" id="{9497D951-D17D-44A1-8385-CF6BB4DA1000}"/>
                </a:ext>
              </a:extLst>
            </p:cNvPr>
            <p:cNvGrpSpPr/>
            <p:nvPr/>
          </p:nvGrpSpPr>
          <p:grpSpPr>
            <a:xfrm>
              <a:off x="5723839" y="2519263"/>
              <a:ext cx="1683757" cy="2705880"/>
              <a:chOff x="5486301" y="2519263"/>
              <a:chExt cx="1683757" cy="2705880"/>
            </a:xfrm>
          </p:grpSpPr>
          <p:grpSp>
            <p:nvGrpSpPr>
              <p:cNvPr id="17" name="Gruppe 16">
                <a:extLst>
                  <a:ext uri="{FF2B5EF4-FFF2-40B4-BE49-F238E27FC236}">
                    <a16:creationId xmlns:a16="http://schemas.microsoft.com/office/drawing/2014/main" id="{B2304A19-C7EC-4678-B939-A9345912B1A2}"/>
                  </a:ext>
                </a:extLst>
              </p:cNvPr>
              <p:cNvGrpSpPr/>
              <p:nvPr/>
            </p:nvGrpSpPr>
            <p:grpSpPr>
              <a:xfrm>
                <a:off x="5827364" y="3552940"/>
                <a:ext cx="964665" cy="1517480"/>
                <a:chOff x="6646902" y="1315804"/>
                <a:chExt cx="601817" cy="946698"/>
              </a:xfrm>
            </p:grpSpPr>
            <p:pic>
              <p:nvPicPr>
                <p:cNvPr id="19" name="Grafik 18" descr="Butik kontur">
                  <a:extLst>
                    <a:ext uri="{FF2B5EF4-FFF2-40B4-BE49-F238E27FC236}">
                      <a16:creationId xmlns:a16="http://schemas.microsoft.com/office/drawing/2014/main" id="{61B83D54-D2A8-4282-A6D4-6643086B459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20" name="Rektangel 19">
                  <a:extLst>
                    <a:ext uri="{FF2B5EF4-FFF2-40B4-BE49-F238E27FC236}">
                      <a16:creationId xmlns:a16="http://schemas.microsoft.com/office/drawing/2014/main" id="{5E10D83F-1AED-4716-B393-979EC930C527}"/>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28</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18" name="Rektangel 17">
                <a:extLst>
                  <a:ext uri="{FF2B5EF4-FFF2-40B4-BE49-F238E27FC236}">
                    <a16:creationId xmlns:a16="http://schemas.microsoft.com/office/drawing/2014/main" id="{0CDAF534-91EE-45D6-B15B-0EAB4A28314E}"/>
                  </a:ext>
                </a:extLst>
              </p:cNvPr>
              <p:cNvSpPr/>
              <p:nvPr/>
            </p:nvSpPr>
            <p:spPr>
              <a:xfrm>
                <a:off x="5486301"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pic>
            <p:nvPicPr>
              <p:cNvPr id="33" name="Picture 2">
                <a:extLst>
                  <a:ext uri="{FF2B5EF4-FFF2-40B4-BE49-F238E27FC236}">
                    <a16:creationId xmlns:a16="http://schemas.microsoft.com/office/drawing/2014/main" id="{704AD29F-F9E4-463B-9011-7B9076142EF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987329" y="2789364"/>
                <a:ext cx="628186" cy="613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e 36">
              <a:extLst>
                <a:ext uri="{FF2B5EF4-FFF2-40B4-BE49-F238E27FC236}">
                  <a16:creationId xmlns:a16="http://schemas.microsoft.com/office/drawing/2014/main" id="{2447BA01-9B39-4D3B-979C-AE11CC535B74}"/>
                </a:ext>
              </a:extLst>
            </p:cNvPr>
            <p:cNvGrpSpPr/>
            <p:nvPr/>
          </p:nvGrpSpPr>
          <p:grpSpPr>
            <a:xfrm>
              <a:off x="7804692" y="2519263"/>
              <a:ext cx="1683757" cy="2705880"/>
              <a:chOff x="7358644" y="2519263"/>
              <a:chExt cx="1683757" cy="2705880"/>
            </a:xfrm>
          </p:grpSpPr>
          <p:grpSp>
            <p:nvGrpSpPr>
              <p:cNvPr id="23" name="Gruppe 22">
                <a:extLst>
                  <a:ext uri="{FF2B5EF4-FFF2-40B4-BE49-F238E27FC236}">
                    <a16:creationId xmlns:a16="http://schemas.microsoft.com/office/drawing/2014/main" id="{04CCB1CD-43BC-4BD1-8480-14F8EEDA6648}"/>
                  </a:ext>
                </a:extLst>
              </p:cNvPr>
              <p:cNvGrpSpPr/>
              <p:nvPr/>
            </p:nvGrpSpPr>
            <p:grpSpPr>
              <a:xfrm>
                <a:off x="7699707" y="3552940"/>
                <a:ext cx="964665" cy="1517480"/>
                <a:chOff x="6646902" y="1315804"/>
                <a:chExt cx="601817" cy="946698"/>
              </a:xfrm>
            </p:grpSpPr>
            <p:pic>
              <p:nvPicPr>
                <p:cNvPr id="25" name="Grafik 24" descr="Butik kontur">
                  <a:extLst>
                    <a:ext uri="{FF2B5EF4-FFF2-40B4-BE49-F238E27FC236}">
                      <a16:creationId xmlns:a16="http://schemas.microsoft.com/office/drawing/2014/main" id="{8539B168-E2A2-4610-A70F-41A354CED0A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26" name="Rektangel 25">
                  <a:extLst>
                    <a:ext uri="{FF2B5EF4-FFF2-40B4-BE49-F238E27FC236}">
                      <a16:creationId xmlns:a16="http://schemas.microsoft.com/office/drawing/2014/main" id="{5B280F53-BEF6-4837-98E2-B588028D5571}"/>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11</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24" name="Rektangel 23">
                <a:extLst>
                  <a:ext uri="{FF2B5EF4-FFF2-40B4-BE49-F238E27FC236}">
                    <a16:creationId xmlns:a16="http://schemas.microsoft.com/office/drawing/2014/main" id="{B828965E-D5A5-4D57-A782-5DDBE5ED5BAE}"/>
                  </a:ext>
                </a:extLst>
              </p:cNvPr>
              <p:cNvSpPr/>
              <p:nvPr/>
            </p:nvSpPr>
            <p:spPr>
              <a:xfrm>
                <a:off x="7358644"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grpSp>
        <p:grpSp>
          <p:nvGrpSpPr>
            <p:cNvPr id="38" name="Gruppe 37">
              <a:extLst>
                <a:ext uri="{FF2B5EF4-FFF2-40B4-BE49-F238E27FC236}">
                  <a16:creationId xmlns:a16="http://schemas.microsoft.com/office/drawing/2014/main" id="{78012B75-24A0-4164-8916-D10862B0518D}"/>
                </a:ext>
              </a:extLst>
            </p:cNvPr>
            <p:cNvGrpSpPr/>
            <p:nvPr/>
          </p:nvGrpSpPr>
          <p:grpSpPr>
            <a:xfrm>
              <a:off x="9885545" y="2519263"/>
              <a:ext cx="1683757" cy="2705880"/>
              <a:chOff x="9216472" y="2519263"/>
              <a:chExt cx="1683757" cy="2705880"/>
            </a:xfrm>
          </p:grpSpPr>
          <p:grpSp>
            <p:nvGrpSpPr>
              <p:cNvPr id="29" name="Gruppe 28">
                <a:extLst>
                  <a:ext uri="{FF2B5EF4-FFF2-40B4-BE49-F238E27FC236}">
                    <a16:creationId xmlns:a16="http://schemas.microsoft.com/office/drawing/2014/main" id="{2628FFE9-B62F-4F6E-8D20-F487359B45BB}"/>
                  </a:ext>
                </a:extLst>
              </p:cNvPr>
              <p:cNvGrpSpPr/>
              <p:nvPr/>
            </p:nvGrpSpPr>
            <p:grpSpPr>
              <a:xfrm>
                <a:off x="9557535" y="3552940"/>
                <a:ext cx="964665" cy="1517480"/>
                <a:chOff x="6646902" y="1315804"/>
                <a:chExt cx="601817" cy="946698"/>
              </a:xfrm>
            </p:grpSpPr>
            <p:pic>
              <p:nvPicPr>
                <p:cNvPr id="31" name="Grafik 30" descr="Butik kontur">
                  <a:extLst>
                    <a:ext uri="{FF2B5EF4-FFF2-40B4-BE49-F238E27FC236}">
                      <a16:creationId xmlns:a16="http://schemas.microsoft.com/office/drawing/2014/main" id="{B4D5238E-EB09-4137-B777-B1F0A04ADDA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32" name="Rektangel 31">
                  <a:extLst>
                    <a:ext uri="{FF2B5EF4-FFF2-40B4-BE49-F238E27FC236}">
                      <a16:creationId xmlns:a16="http://schemas.microsoft.com/office/drawing/2014/main" id="{F2BF5153-8C4B-4A2D-8646-3F042723D83E}"/>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17</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30" name="Rektangel 29">
                <a:extLst>
                  <a:ext uri="{FF2B5EF4-FFF2-40B4-BE49-F238E27FC236}">
                    <a16:creationId xmlns:a16="http://schemas.microsoft.com/office/drawing/2014/main" id="{674CFF84-2E53-4CAF-8993-576AC6B30960}"/>
                  </a:ext>
                </a:extLst>
              </p:cNvPr>
              <p:cNvSpPr/>
              <p:nvPr/>
            </p:nvSpPr>
            <p:spPr>
              <a:xfrm>
                <a:off x="9216472"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3" name="Tekstfelt 12">
                <a:extLst>
                  <a:ext uri="{FF2B5EF4-FFF2-40B4-BE49-F238E27FC236}">
                    <a16:creationId xmlns:a16="http://schemas.microsoft.com/office/drawing/2014/main" id="{9462CBB2-5529-4836-B814-FA610CC978A1}"/>
                  </a:ext>
                </a:extLst>
              </p:cNvPr>
              <p:cNvSpPr txBox="1"/>
              <p:nvPr/>
            </p:nvSpPr>
            <p:spPr>
              <a:xfrm>
                <a:off x="9332686" y="3050418"/>
                <a:ext cx="1451428" cy="27699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000000"/>
                    </a:solidFill>
                    <a:effectLst/>
                    <a:uLnTx/>
                    <a:uFillTx/>
                    <a:latin typeface="COOP"/>
                    <a:ea typeface="+mn-ea"/>
                    <a:cs typeface="+mn-cs"/>
                  </a:rPr>
                  <a:t>LUKKER</a:t>
                </a:r>
              </a:p>
            </p:txBody>
          </p:sp>
        </p:grpSp>
      </p:grpSp>
      <p:pic>
        <p:nvPicPr>
          <p:cNvPr id="34" name="Billede 33" descr="Et billede, der indeholder Font/skrifttype, tekst, skærmbillede, Grafik&#10;&#10;Automatisk genereret beskrivelse">
            <a:extLst>
              <a:ext uri="{FF2B5EF4-FFF2-40B4-BE49-F238E27FC236}">
                <a16:creationId xmlns:a16="http://schemas.microsoft.com/office/drawing/2014/main" id="{9DE529ED-35D4-451C-A4A1-9FEA93D7328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094239" y="2740083"/>
            <a:ext cx="1103712" cy="529885"/>
          </a:xfrm>
          <a:prstGeom prst="rect">
            <a:avLst/>
          </a:prstGeom>
        </p:spPr>
      </p:pic>
    </p:spTree>
    <p:extLst>
      <p:ext uri="{BB962C8B-B14F-4D97-AF65-F5344CB8AC3E}">
        <p14:creationId xmlns:p14="http://schemas.microsoft.com/office/powerpoint/2010/main" val="286639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R73tksNTpeUCXuAbJV1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YLNM4uJSBGfEHVPuuCh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XLWCS7kRnWGXrvpWL2D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hqJPGMeQk.JbHlm9szc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dd0O8pSTpCeW2hgjFox6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qINoXZS7G4ForQTTZO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3NJra05SXS9o1bvGujJ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8Vr22UdSFmjMnBK6sP7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8JrvvfRSKOs.mCsZr5s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0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SUBGRID]" val="[SubGrid]"/>
</p:tagLst>
</file>

<file path=ppt/tags/tag351.xml><?xml version="1.0" encoding="utf-8"?>
<p:tagLst xmlns:a="http://schemas.openxmlformats.org/drawingml/2006/main" xmlns:r="http://schemas.openxmlformats.org/officeDocument/2006/relationships" xmlns:p="http://schemas.openxmlformats.org/presentationml/2006/main">
  <p:tag name="[SUBGRID]" val="[SubGrid]"/>
</p:tagLst>
</file>

<file path=ppt/tags/tag352.xml><?xml version="1.0" encoding="utf-8"?>
<p:tagLst xmlns:a="http://schemas.openxmlformats.org/drawingml/2006/main" xmlns:r="http://schemas.openxmlformats.org/officeDocument/2006/relationships" xmlns:p="http://schemas.openxmlformats.org/presentationml/2006/main">
  <p:tag name="[SUBGRID]" val="[SubGrid]"/>
</p:tagLst>
</file>

<file path=ppt/tags/tag353.xml><?xml version="1.0" encoding="utf-8"?>
<p:tagLst xmlns:a="http://schemas.openxmlformats.org/drawingml/2006/main" xmlns:r="http://schemas.openxmlformats.org/officeDocument/2006/relationships" xmlns:p="http://schemas.openxmlformats.org/presentationml/2006/main">
  <p:tag name="[SUBGRID]" val="[SubGrid]"/>
</p:tagLst>
</file>

<file path=ppt/tags/tag354.xml><?xml version="1.0" encoding="utf-8"?>
<p:tagLst xmlns:a="http://schemas.openxmlformats.org/drawingml/2006/main" xmlns:r="http://schemas.openxmlformats.org/officeDocument/2006/relationships" xmlns:p="http://schemas.openxmlformats.org/presentationml/2006/main">
  <p:tag name="[SUBGRID]" val="[SubGrid]"/>
</p:tagLst>
</file>

<file path=ppt/tags/tag355.xml><?xml version="1.0" encoding="utf-8"?>
<p:tagLst xmlns:a="http://schemas.openxmlformats.org/drawingml/2006/main" xmlns:r="http://schemas.openxmlformats.org/officeDocument/2006/relationships" xmlns:p="http://schemas.openxmlformats.org/presentationml/2006/main">
  <p:tag name="[SUBGRID]" val="[SubGrid]"/>
</p:tagLst>
</file>

<file path=ppt/tags/tag356.xml><?xml version="1.0" encoding="utf-8"?>
<p:tagLst xmlns:a="http://schemas.openxmlformats.org/drawingml/2006/main" xmlns:r="http://schemas.openxmlformats.org/officeDocument/2006/relationships" xmlns:p="http://schemas.openxmlformats.org/presentationml/2006/main">
  <p:tag name="[SUBGRID]" val="[SubGrid]"/>
</p:tagLst>
</file>

<file path=ppt/tags/tag357.xml><?xml version="1.0" encoding="utf-8"?>
<p:tagLst xmlns:a="http://schemas.openxmlformats.org/drawingml/2006/main" xmlns:r="http://schemas.openxmlformats.org/officeDocument/2006/relationships" xmlns:p="http://schemas.openxmlformats.org/presentationml/2006/main">
  <p:tag name="[SUBGRID]" val="[SubGrid]"/>
</p:tagLst>
</file>

<file path=ppt/tags/tag358.xml><?xml version="1.0" encoding="utf-8"?>
<p:tagLst xmlns:a="http://schemas.openxmlformats.org/drawingml/2006/main" xmlns:r="http://schemas.openxmlformats.org/officeDocument/2006/relationships" xmlns:p="http://schemas.openxmlformats.org/presentationml/2006/main">
  <p:tag name="[SUBGRID]" val="[SubGrid]"/>
</p:tagLst>
</file>

<file path=ppt/tags/tag359.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60.xml><?xml version="1.0" encoding="utf-8"?>
<p:tagLst xmlns:a="http://schemas.openxmlformats.org/drawingml/2006/main" xmlns:r="http://schemas.openxmlformats.org/officeDocument/2006/relationships" xmlns:p="http://schemas.openxmlformats.org/presentationml/2006/main">
  <p:tag name="[SUBGRID]" val="[SubGrid]"/>
</p:tagLst>
</file>

<file path=ppt/tags/tag361.xml><?xml version="1.0" encoding="utf-8"?>
<p:tagLst xmlns:a="http://schemas.openxmlformats.org/drawingml/2006/main" xmlns:r="http://schemas.openxmlformats.org/officeDocument/2006/relationships" xmlns:p="http://schemas.openxmlformats.org/presentationml/2006/main">
  <p:tag name="[SUBGRID]" val="[SubGrid]"/>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R43z7vaABdp9j0r9C8Kb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dLxl0wMSbiQt58LCCKJ9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v8wzpK0SB2BnaJo3b8jh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8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8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OOP">
      <a:majorFont>
        <a:latin typeface="COOP"/>
        <a:ea typeface=""/>
        <a:cs typeface=""/>
      </a:majorFont>
      <a:minorFont>
        <a:latin typeface="COO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OOP Grid 16: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7.xml><?xml version="1.0" encoding="utf-8"?>
<a:theme xmlns:a="http://schemas.openxmlformats.org/drawingml/2006/main" name="COOP Grid 16: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8.xml><?xml version="1.0" encoding="utf-8"?>
<a:theme xmlns:a="http://schemas.openxmlformats.org/drawingml/2006/main" name="Blank">
  <a:themeElements>
    <a:clrScheme name="Brugerdefineret 1">
      <a:dk1>
        <a:srgbClr val="000000"/>
      </a:dk1>
      <a:lt1>
        <a:srgbClr val="FFFFFF"/>
      </a:lt1>
      <a:dk2>
        <a:srgbClr val="C00000"/>
      </a:dk2>
      <a:lt2>
        <a:srgbClr val="FFFFFF"/>
      </a:lt2>
      <a:accent1>
        <a:srgbClr val="C00000"/>
      </a:accent1>
      <a:accent2>
        <a:srgbClr val="8C1419"/>
      </a:accent2>
      <a:accent3>
        <a:srgbClr val="000000"/>
      </a:accent3>
      <a:accent4>
        <a:srgbClr val="9A867D"/>
      </a:accent4>
      <a:accent5>
        <a:srgbClr val="BFBFBF"/>
      </a:accent5>
      <a:accent6>
        <a:srgbClr val="FFFFFF"/>
      </a:accent6>
      <a:hlink>
        <a:srgbClr val="000000"/>
      </a:hlink>
      <a:folHlink>
        <a:srgbClr val="000000"/>
      </a:folHlink>
    </a:clrScheme>
    <a:fontScheme name="Brugerdefineret 6">
      <a:majorFont>
        <a:latin typeface="COOP"/>
        <a:ea typeface=""/>
        <a:cs typeface=""/>
      </a:majorFont>
      <a:minorFont>
        <a:latin typeface="COOP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lIns="72000" tIns="36000" rIns="72000" bIns="36000" rtlCol="0" anchor="ctr"/>
      <a:lstStyle>
        <a:defPPr algn="ctr">
          <a:lnSpc>
            <a:spcPct val="90000"/>
          </a:lnSpc>
          <a:spcBef>
            <a:spcPts val="1000"/>
          </a:spcBef>
          <a:defRPr sz="18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spAutoFit/>
      </a:bodyPr>
      <a:lstStyle>
        <a:defPPr algn="l">
          <a:lnSpc>
            <a:spcPct val="90000"/>
          </a:lnSpc>
          <a:spcBef>
            <a:spcPts val="1000"/>
          </a:spcBef>
          <a:defRPr sz="1800" dirty="0" err="1" smtClean="0"/>
        </a:defPPr>
      </a:lstStyle>
    </a:txDef>
  </a:objectDefaults>
  <a:extraClrSchemeLst/>
  <a:extLst>
    <a:ext uri="{05A4C25C-085E-4340-85A3-A5531E510DB2}">
      <thm15:themeFamily xmlns:thm15="http://schemas.microsoft.com/office/thememl/2012/main" name="Brugsen skabelon" id="{E4DEEAD3-C855-4112-8709-2E225375846C}" vid="{4A53C244-545A-4618-83FC-7149077487E4}"/>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86dfbf5-d632-44ed-b667-f02680c9d9b6">
      <Terms xmlns="http://schemas.microsoft.com/office/infopath/2007/PartnerControls"/>
    </lcf76f155ced4ddcb4097134ff3c332f>
    <TaxCatchAll xmlns="ffd05442-9a9c-4f8f-8bd8-934667586c0a" xsi:nil="true"/>
    <SharedWithUsers xmlns="ffd05442-9a9c-4f8f-8bd8-934667586c0a">
      <UserInfo>
        <DisplayName>Svenningsen, Thomas</DisplayName>
        <AccountId>189</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A614BD4CE8E14490E7CC3ADF30DE86" ma:contentTypeVersion="14" ma:contentTypeDescription="Create a new document." ma:contentTypeScope="" ma:versionID="cf2bd48bbe21c44026d2330738e5658c">
  <xsd:schema xmlns:xsd="http://www.w3.org/2001/XMLSchema" xmlns:xs="http://www.w3.org/2001/XMLSchema" xmlns:p="http://schemas.microsoft.com/office/2006/metadata/properties" xmlns:ns2="a86dfbf5-d632-44ed-b667-f02680c9d9b6" xmlns:ns3="ffd05442-9a9c-4f8f-8bd8-934667586c0a" targetNamespace="http://schemas.microsoft.com/office/2006/metadata/properties" ma:root="true" ma:fieldsID="7e3f69e97f27d780417acfb5d23a48f5" ns2:_="" ns3:_="">
    <xsd:import namespace="a86dfbf5-d632-44ed-b667-f02680c9d9b6"/>
    <xsd:import namespace="ffd05442-9a9c-4f8f-8bd8-934667586c0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dfbf5-d632-44ed-b667-f02680c9d9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c85f4a6-db63-4a07-b97c-64545700266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d05442-9a9c-4f8f-8bd8-934667586c0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dfd45bf-0612-475b-8d61-edae5396bdda}" ma:internalName="TaxCatchAll" ma:showField="CatchAllData" ma:web="ffd05442-9a9c-4f8f-8bd8-934667586c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E34B8A-01D0-4A67-B4CA-9ECE98DECBDB}">
  <ds:schemaRefs>
    <ds:schemaRef ds:uri="http://schemas.microsoft.com/office/2006/metadata/properties"/>
    <ds:schemaRef ds:uri="http://purl.org/dc/terms/"/>
    <ds:schemaRef ds:uri="http://schemas.microsoft.com/office/2006/documentManagement/types"/>
    <ds:schemaRef ds:uri="a86dfbf5-d632-44ed-b667-f02680c9d9b6"/>
    <ds:schemaRef ds:uri="http://schemas.openxmlformats.org/package/2006/metadata/core-properties"/>
    <ds:schemaRef ds:uri="http://purl.org/dc/dcmitype/"/>
    <ds:schemaRef ds:uri="http://schemas.microsoft.com/office/infopath/2007/PartnerControls"/>
    <ds:schemaRef ds:uri="ffd05442-9a9c-4f8f-8bd8-934667586c0a"/>
    <ds:schemaRef ds:uri="http://www.w3.org/XML/1998/namespace"/>
    <ds:schemaRef ds:uri="http://purl.org/dc/elements/1.1/"/>
  </ds:schemaRefs>
</ds:datastoreItem>
</file>

<file path=customXml/itemProps2.xml><?xml version="1.0" encoding="utf-8"?>
<ds:datastoreItem xmlns:ds="http://schemas.openxmlformats.org/officeDocument/2006/customXml" ds:itemID="{0BCF70B9-04C5-4D97-B8A4-5FCE52E956D1}">
  <ds:schemaRefs>
    <ds:schemaRef ds:uri="http://schemas.microsoft.com/sharepoint/v3/contenttype/forms"/>
  </ds:schemaRefs>
</ds:datastoreItem>
</file>

<file path=customXml/itemProps3.xml><?xml version="1.0" encoding="utf-8"?>
<ds:datastoreItem xmlns:ds="http://schemas.openxmlformats.org/officeDocument/2006/customXml" ds:itemID="{5ED62FAB-67AE-4AA5-840D-65BE226BCED7}">
  <ds:schemaRefs>
    <ds:schemaRef ds:uri="a86dfbf5-d632-44ed-b667-f02680c9d9b6"/>
    <ds:schemaRef ds:uri="ffd05442-9a9c-4f8f-8bd8-934667586c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105</TotalTime>
  <Words>3697</Words>
  <Application>Microsoft Office PowerPoint</Application>
  <PresentationFormat>Widescreen</PresentationFormat>
  <Paragraphs>413</Paragraphs>
  <Slides>30</Slides>
  <Notes>24</Notes>
  <HiddenSlides>0</HiddenSlides>
  <MMClips>1</MMClips>
  <ScaleCrop>false</ScaleCrop>
  <HeadingPairs>
    <vt:vector size="8" baseType="variant">
      <vt:variant>
        <vt:lpstr>Benyttede skrifttyper</vt:lpstr>
      </vt:variant>
      <vt:variant>
        <vt:i4>10</vt:i4>
      </vt:variant>
      <vt:variant>
        <vt:lpstr>Tema</vt:lpstr>
      </vt:variant>
      <vt:variant>
        <vt:i4>8</vt:i4>
      </vt:variant>
      <vt:variant>
        <vt:lpstr>Integrerede OLE-servere</vt:lpstr>
      </vt:variant>
      <vt:variant>
        <vt:i4>1</vt:i4>
      </vt:variant>
      <vt:variant>
        <vt:lpstr>Slidetitler</vt:lpstr>
      </vt:variant>
      <vt:variant>
        <vt:i4>30</vt:i4>
      </vt:variant>
    </vt:vector>
  </HeadingPairs>
  <TitlesOfParts>
    <vt:vector size="49" baseType="lpstr">
      <vt:lpstr>Arial</vt:lpstr>
      <vt:lpstr>Calibri</vt:lpstr>
      <vt:lpstr>Calibri Light</vt:lpstr>
      <vt:lpstr>COOP</vt:lpstr>
      <vt:lpstr>COOP Light</vt:lpstr>
      <vt:lpstr>COOP Medium</vt:lpstr>
      <vt:lpstr>Coop365discount</vt:lpstr>
      <vt:lpstr>Noto Serif</vt:lpstr>
      <vt:lpstr>Olsen-Bold</vt:lpstr>
      <vt:lpstr>Trebuchet MS</vt:lpstr>
      <vt:lpstr>COOP Grid 16:9 - 17379</vt:lpstr>
      <vt:lpstr>1_Office Theme</vt:lpstr>
      <vt:lpstr>1_COOP Grid 16:9 - 17379</vt:lpstr>
      <vt:lpstr>4_Office Theme</vt:lpstr>
      <vt:lpstr>8_Office Theme</vt:lpstr>
      <vt:lpstr>1_COOP Grid 16:9</vt:lpstr>
      <vt:lpstr>COOP Grid 16:9</vt:lpstr>
      <vt:lpstr>Blank</vt:lpstr>
      <vt:lpstr>think-cell Slide</vt:lpstr>
      <vt:lpstr>PowerPoint-præsentation</vt:lpstr>
      <vt:lpstr>PowerPoint-præsentation</vt:lpstr>
      <vt:lpstr>Unikke aktiver | Coop er en stærk spiller på det danske marked og har en lang række unikke aktiver</vt:lpstr>
      <vt:lpstr>PowerPoint-præsentation</vt:lpstr>
      <vt:lpstr>Coop arbejder i forbrugernes tjeneste, og kæmper for dem via fem Coop missioner …  </vt:lpstr>
      <vt:lpstr>PowerPoint-præsentation</vt:lpstr>
      <vt:lpstr>PowerPoint-præsentation</vt:lpstr>
      <vt:lpstr>Introduktion | Coops kæder i tal</vt:lpstr>
      <vt:lpstr>PowerPoint-præsentation</vt:lpstr>
      <vt:lpstr>Irma er nu et landsdækkende mærke</vt:lpstr>
      <vt:lpstr>PowerPoint-præsentation</vt:lpstr>
      <vt:lpstr>PowerPoint-præsentation</vt:lpstr>
      <vt:lpstr>PowerPoint-præsentation</vt:lpstr>
      <vt:lpstr>PowerPoint-præsentation</vt:lpstr>
      <vt:lpstr>Bæredygtighed | Coop anerkendes af kunderne og globalt for bæredygtighed </vt:lpstr>
      <vt:lpstr>Coop One | 1. september 2023 gik vi live med sidste rul af Coop One IT platformen efter 6 års indsats og en investering på +2 mia. DKK</vt:lpstr>
      <vt:lpstr>Unikke varemærker | 4 ud af top 6 private-label varemærker med højest kendskab er Coop varemærker med Änglamark på første pladse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Coop Dan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 31.1. offentliggjorde vi vores nye Fremtidens Coop strategi!</dc:title>
  <dc:creator>Brink, Niels Peter</dc:creator>
  <cp:lastModifiedBy>Kofoed, Michala</cp:lastModifiedBy>
  <cp:revision>6</cp:revision>
  <dcterms:created xsi:type="dcterms:W3CDTF">2023-03-27T07:10:32Z</dcterms:created>
  <dcterms:modified xsi:type="dcterms:W3CDTF">2024-02-05T13:5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614BD4CE8E14490E7CC3ADF30DE86</vt:lpwstr>
  </property>
  <property fmtid="{D5CDD505-2E9C-101B-9397-08002B2CF9AE}" pid="3" name="MediaServiceImageTags">
    <vt:lpwstr/>
  </property>
</Properties>
</file>